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2.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33.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34.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35.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36.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tags/tag37.xml" ContentType="application/vnd.openxmlformats-officedocument.presentationml.tags+xml"/>
  <Override PartName="/ppt/charts/chart21.xml" ContentType="application/vnd.openxmlformats-officedocument.drawingml.chart+xml"/>
  <Override PartName="/ppt/tags/tag38.xml" ContentType="application/vnd.openxmlformats-officedocument.presentationml.tags+xml"/>
  <Override PartName="/ppt/charts/chart22.xml" ContentType="application/vnd.openxmlformats-officedocument.drawingml.chart+xml"/>
  <Override PartName="/ppt/tags/tag39.xml" ContentType="application/vnd.openxmlformats-officedocument.presentationml.tags+xml"/>
  <Override PartName="/ppt/charts/chart23.xml" ContentType="application/vnd.openxmlformats-officedocument.drawingml.chart+xml"/>
  <Override PartName="/ppt/tags/tag40.xml" ContentType="application/vnd.openxmlformats-officedocument.presentationml.tags+xml"/>
  <Override PartName="/ppt/charts/chart24.xml" ContentType="application/vnd.openxmlformats-officedocument.drawingml.chart+xml"/>
  <Override PartName="/ppt/tags/tag41.xml" ContentType="application/vnd.openxmlformats-officedocument.presentationml.tags+xml"/>
  <Override PartName="/ppt/charts/chart25.xml" ContentType="application/vnd.openxmlformats-officedocument.drawingml.chart+xml"/>
  <Override PartName="/ppt/tags/tag42.xml" ContentType="application/vnd.openxmlformats-officedocument.presentationml.tags+xml"/>
  <Override PartName="/ppt/charts/chart26.xml" ContentType="application/vnd.openxmlformats-officedocument.drawingml.chart+xml"/>
  <Override PartName="/ppt/tags/tag43.xml" ContentType="application/vnd.openxmlformats-officedocument.presentationml.tags+xml"/>
  <Override PartName="/ppt/charts/chart27.xml" ContentType="application/vnd.openxmlformats-officedocument.drawingml.chart+xml"/>
  <Override PartName="/ppt/tags/tag44.xml" ContentType="application/vnd.openxmlformats-officedocument.presentationml.tags+xml"/>
  <Override PartName="/ppt/charts/chart28.xml" ContentType="application/vnd.openxmlformats-officedocument.drawingml.chart+xml"/>
  <Override PartName="/ppt/tags/tag45.xml" ContentType="application/vnd.openxmlformats-officedocument.presentationml.tags+xml"/>
  <Override PartName="/ppt/charts/chart29.xml" ContentType="application/vnd.openxmlformats-officedocument.drawingml.chart+xml"/>
  <Override PartName="/ppt/tags/tag46.xml" ContentType="application/vnd.openxmlformats-officedocument.presentationml.tags+xml"/>
  <Override PartName="/ppt/charts/chart30.xml" ContentType="application/vnd.openxmlformats-officedocument.drawingml.chart+xml"/>
  <Override PartName="/ppt/tags/tag47.xml" ContentType="application/vnd.openxmlformats-officedocument.presentationml.tags+xml"/>
  <Override PartName="/ppt/charts/chart31.xml" ContentType="application/vnd.openxmlformats-officedocument.drawingml.chart+xml"/>
  <Override PartName="/ppt/tags/tag48.xml" ContentType="application/vnd.openxmlformats-officedocument.presentationml.tags+xml"/>
  <Override PartName="/ppt/charts/chart32.xml" ContentType="application/vnd.openxmlformats-officedocument.drawingml.chart+xml"/>
  <Override PartName="/ppt/tags/tag49.xml" ContentType="application/vnd.openxmlformats-officedocument.presentationml.tags+xml"/>
  <Override PartName="/ppt/charts/chart33.xml" ContentType="application/vnd.openxmlformats-officedocument.drawingml.chart+xml"/>
  <Override PartName="/ppt/tags/tag50.xml" ContentType="application/vnd.openxmlformats-officedocument.presentationml.tags+xml"/>
  <Override PartName="/ppt/charts/chart34.xml" ContentType="application/vnd.openxmlformats-officedocument.drawingml.chart+xml"/>
  <Override PartName="/ppt/tags/tag51.xml" ContentType="application/vnd.openxmlformats-officedocument.presentationml.tags+xml"/>
  <Override PartName="/ppt/charts/chart35.xml" ContentType="application/vnd.openxmlformats-officedocument.drawingml.chart+xml"/>
  <Override PartName="/ppt/tags/tag52.xml" ContentType="application/vnd.openxmlformats-officedocument.presentationml.tags+xml"/>
  <Override PartName="/ppt/charts/chart36.xml" ContentType="application/vnd.openxmlformats-officedocument.drawingml.chart+xml"/>
  <Override PartName="/ppt/tags/tag53.xml" ContentType="application/vnd.openxmlformats-officedocument.presentationml.tags+xml"/>
  <Override PartName="/ppt/charts/chart37.xml" ContentType="application/vnd.openxmlformats-officedocument.drawingml.chart+xml"/>
  <Override PartName="/ppt/tags/tag54.xml" ContentType="application/vnd.openxmlformats-officedocument.presentationml.tags+xml"/>
  <Override PartName="/ppt/charts/chart38.xml" ContentType="application/vnd.openxmlformats-officedocument.drawingml.chart+xml"/>
  <Override PartName="/ppt/tags/tag55.xml" ContentType="application/vnd.openxmlformats-officedocument.presentationml.tags+xml"/>
  <Override PartName="/ppt/charts/chart39.xml" ContentType="application/vnd.openxmlformats-officedocument.drawingml.chart+xml"/>
  <Override PartName="/ppt/tags/tag56.xml" ContentType="application/vnd.openxmlformats-officedocument.presentationml.tags+xml"/>
  <Override PartName="/ppt/charts/chart40.xml" ContentType="application/vnd.openxmlformats-officedocument.drawingml.chart+xml"/>
  <Override PartName="/ppt/tags/tag57.xml" ContentType="application/vnd.openxmlformats-officedocument.presentationml.tags+xml"/>
  <Override PartName="/ppt/charts/chart41.xml" ContentType="application/vnd.openxmlformats-officedocument.drawingml.chart+xml"/>
  <Override PartName="/ppt/tags/tag58.xml" ContentType="application/vnd.openxmlformats-officedocument.presentationml.tags+xml"/>
  <Override PartName="/ppt/charts/chart42.xml" ContentType="application/vnd.openxmlformats-officedocument.drawingml.chart+xml"/>
  <Override PartName="/ppt/tags/tag59.xml" ContentType="application/vnd.openxmlformats-officedocument.presentationml.tags+xml"/>
  <Override PartName="/ppt/charts/chart43.xml" ContentType="application/vnd.openxmlformats-officedocument.drawingml.chart+xml"/>
  <Override PartName="/ppt/tags/tag60.xml" ContentType="application/vnd.openxmlformats-officedocument.presentationml.tags+xml"/>
  <Override PartName="/ppt/charts/chart44.xml" ContentType="application/vnd.openxmlformats-officedocument.drawingml.chart+xml"/>
  <Override PartName="/ppt/tags/tag61.xml" ContentType="application/vnd.openxmlformats-officedocument.presentationml.tags+xml"/>
  <Override PartName="/ppt/charts/chart45.xml" ContentType="application/vnd.openxmlformats-officedocument.drawingml.chart+xml"/>
  <Override PartName="/ppt/tags/tag62.xml" ContentType="application/vnd.openxmlformats-officedocument.presentationml.tags+xml"/>
  <Override PartName="/ppt/charts/chart46.xml" ContentType="application/vnd.openxmlformats-officedocument.drawingml.chart+xml"/>
  <Override PartName="/ppt/tags/tag63.xml" ContentType="application/vnd.openxmlformats-officedocument.presentationml.tags+xml"/>
  <Override PartName="/ppt/charts/chart47.xml" ContentType="application/vnd.openxmlformats-officedocument.drawingml.chart+xml"/>
  <Override PartName="/ppt/tags/tag64.xml" ContentType="application/vnd.openxmlformats-officedocument.presentationml.tags+xml"/>
  <Override PartName="/ppt/charts/chart48.xml" ContentType="application/vnd.openxmlformats-officedocument.drawingml.chart+xml"/>
  <Override PartName="/ppt/tags/tag65.xml" ContentType="application/vnd.openxmlformats-officedocument.presentationml.tags+xml"/>
  <Override PartName="/ppt/charts/chart49.xml" ContentType="application/vnd.openxmlformats-officedocument.drawingml.chart+xml"/>
  <Override PartName="/ppt/tags/tag66.xml" ContentType="application/vnd.openxmlformats-officedocument.presentationml.tags+xml"/>
  <Override PartName="/ppt/charts/chart50.xml" ContentType="application/vnd.openxmlformats-officedocument.drawingml.chart+xml"/>
  <Override PartName="/ppt/tags/tag67.xml" ContentType="application/vnd.openxmlformats-officedocument.presentationml.tags+xml"/>
  <Override PartName="/ppt/charts/chart51.xml" ContentType="application/vnd.openxmlformats-officedocument.drawingml.chart+xml"/>
  <Override PartName="/ppt/tags/tag68.xml" ContentType="application/vnd.openxmlformats-officedocument.presentationml.tags+xml"/>
  <Override PartName="/ppt/charts/chart52.xml" ContentType="application/vnd.openxmlformats-officedocument.drawingml.chart+xml"/>
  <Override PartName="/ppt/tags/tag69.xml" ContentType="application/vnd.openxmlformats-officedocument.presentationml.tags+xml"/>
  <Override PartName="/ppt/charts/chart53.xml" ContentType="application/vnd.openxmlformats-officedocument.drawingml.chart+xml"/>
  <Override PartName="/ppt/tags/tag70.xml" ContentType="application/vnd.openxmlformats-officedocument.presentationml.tags+xml"/>
  <Override PartName="/ppt/charts/chart54.xml" ContentType="application/vnd.openxmlformats-officedocument.drawingml.chart+xml"/>
  <Override PartName="/ppt/tags/tag71.xml" ContentType="application/vnd.openxmlformats-officedocument.presentationml.tags+xml"/>
  <Override PartName="/ppt/charts/chart55.xml" ContentType="application/vnd.openxmlformats-officedocument.drawingml.chart+xml"/>
  <Override PartName="/ppt/tags/tag72.xml" ContentType="application/vnd.openxmlformats-officedocument.presentationml.tags+xml"/>
  <Override PartName="/ppt/charts/chart56.xml" ContentType="application/vnd.openxmlformats-officedocument.drawingml.chart+xml"/>
  <Override PartName="/ppt/tags/tag73.xml" ContentType="application/vnd.openxmlformats-officedocument.presentationml.tags+xml"/>
  <Override PartName="/ppt/charts/chart57.xml" ContentType="application/vnd.openxmlformats-officedocument.drawingml.chart+xml"/>
  <Override PartName="/ppt/tags/tag74.xml" ContentType="application/vnd.openxmlformats-officedocument.presentationml.tags+xml"/>
  <Override PartName="/ppt/charts/chart58.xml" ContentType="application/vnd.openxmlformats-officedocument.drawingml.chart+xml"/>
  <Override PartName="/ppt/tags/tag75.xml" ContentType="application/vnd.openxmlformats-officedocument.presentationml.tags+xml"/>
  <Override PartName="/ppt/charts/chart59.xml" ContentType="application/vnd.openxmlformats-officedocument.drawingml.chart+xml"/>
  <Override PartName="/ppt/tags/tag76.xml" ContentType="application/vnd.openxmlformats-officedocument.presentationml.tags+xml"/>
  <Override PartName="/ppt/charts/chart60.xml" ContentType="application/vnd.openxmlformats-officedocument.drawingml.chart+xml"/>
  <Override PartName="/ppt/tags/tag77.xml" ContentType="application/vnd.openxmlformats-officedocument.presentationml.tags+xml"/>
  <Override PartName="/ppt/notesSlides/notesSlide1.xml" ContentType="application/vnd.openxmlformats-officedocument.presentationml.notesSlide+xml"/>
  <Override PartName="/ppt/tags/tag78.xml" ContentType="application/vnd.openxmlformats-officedocument.presentationml.tags+xml"/>
  <Override PartName="/ppt/notesSlides/notesSlide2.xml" ContentType="application/vnd.openxmlformats-officedocument.presentationml.notesSlide+xml"/>
  <Override PartName="/ppt/tags/tag79.xml" ContentType="application/vnd.openxmlformats-officedocument.presentationml.tags+xml"/>
  <Override PartName="/ppt/notesSlides/notesSlide3.xml" ContentType="application/vnd.openxmlformats-officedocument.presentationml.notesSlide+xml"/>
  <Override PartName="/ppt/tags/tag80.xml" ContentType="application/vnd.openxmlformats-officedocument.presentationml.tags+xml"/>
  <Override PartName="/ppt/notesSlides/notesSlide4.xml" ContentType="application/vnd.openxmlformats-officedocument.presentationml.notesSlide+xml"/>
  <Override PartName="/ppt/tags/tag81.xml" ContentType="application/vnd.openxmlformats-officedocument.presentationml.tags+xml"/>
  <Override PartName="/ppt/notesSlides/notesSlide5.xml" ContentType="application/vnd.openxmlformats-officedocument.presentationml.notesSlide+xml"/>
  <Override PartName="/ppt/tags/tag82.xml" ContentType="application/vnd.openxmlformats-officedocument.presentationml.tags+xml"/>
  <Override PartName="/ppt/notesSlides/notesSlide6.xml" ContentType="application/vnd.openxmlformats-officedocument.presentationml.notesSlide+xml"/>
  <Override PartName="/ppt/tags/tag83.xml" ContentType="application/vnd.openxmlformats-officedocument.presentationml.tags+xml"/>
  <Override PartName="/ppt/notesSlides/notesSlide7.xml" ContentType="application/vnd.openxmlformats-officedocument.presentationml.notesSlide+xml"/>
  <Override PartName="/ppt/tags/tag84.xml" ContentType="application/vnd.openxmlformats-officedocument.presentationml.tags+xml"/>
  <Override PartName="/ppt/notesSlides/notesSlide8.xml" ContentType="application/vnd.openxmlformats-officedocument.presentationml.notesSlide+xml"/>
  <Override PartName="/ppt/tags/tag85.xml" ContentType="application/vnd.openxmlformats-officedocument.presentationml.tags+xml"/>
  <Override PartName="/ppt/notesSlides/notesSlide9.xml" ContentType="application/vnd.openxmlformats-officedocument.presentationml.notesSlide+xml"/>
  <Override PartName="/ppt/tags/tag86.xml" ContentType="application/vnd.openxmlformats-officedocument.presentationml.tags+xml"/>
  <Override PartName="/ppt/notesSlides/notesSlide10.xml" ContentType="application/vnd.openxmlformats-officedocument.presentationml.notesSlide+xml"/>
  <Override PartName="/ppt/tags/tag87.xml" ContentType="application/vnd.openxmlformats-officedocument.presentationml.tags+xml"/>
  <Override PartName="/ppt/notesSlides/notesSlide11.xml" ContentType="application/vnd.openxmlformats-officedocument.presentationml.notesSlide+xml"/>
  <Override PartName="/ppt/tags/tag88.xml" ContentType="application/vnd.openxmlformats-officedocument.presentationml.tags+xml"/>
  <Override PartName="/ppt/notesSlides/notesSlide12.xml" ContentType="application/vnd.openxmlformats-officedocument.presentationml.notesSlide+xml"/>
  <Override PartName="/ppt/tags/tag89.xml" ContentType="application/vnd.openxmlformats-officedocument.presentationml.tags+xml"/>
  <Override PartName="/ppt/notesSlides/notesSlide13.xml" ContentType="application/vnd.openxmlformats-officedocument.presentationml.notesSlide+xml"/>
  <Override PartName="/ppt/charts/chart61.xml" ContentType="application/vnd.openxmlformats-officedocument.drawingml.chart+xml"/>
  <Override PartName="/ppt/charts/style1.xml" ContentType="application/vnd.ms-office.chartstyle+xml"/>
  <Override PartName="/ppt/charts/colors1.xml" ContentType="application/vnd.ms-office.chartcolorstyle+xml"/>
  <Override PartName="/ppt/tags/tag90.xml" ContentType="application/vnd.openxmlformats-officedocument.presentationml.tags+xml"/>
  <Override PartName="/ppt/notesSlides/notesSlide14.xml" ContentType="application/vnd.openxmlformats-officedocument.presentationml.notesSlide+xml"/>
  <Override PartName="/ppt/charts/chart62.xml" ContentType="application/vnd.openxmlformats-officedocument.drawingml.chart+xml"/>
  <Override PartName="/ppt/charts/style2.xml" ContentType="application/vnd.ms-office.chartstyle+xml"/>
  <Override PartName="/ppt/charts/colors2.xml" ContentType="application/vnd.ms-office.chartcolorstyle+xml"/>
  <Override PartName="/ppt/tags/tag91.xml" ContentType="application/vnd.openxmlformats-officedocument.presentationml.tags+xml"/>
  <Override PartName="/ppt/notesSlides/notesSlide15.xml" ContentType="application/vnd.openxmlformats-officedocument.presentationml.notesSlide+xml"/>
  <Override PartName="/ppt/charts/chart63.xml" ContentType="application/vnd.openxmlformats-officedocument.drawingml.chart+xml"/>
  <Override PartName="/ppt/charts/style3.xml" ContentType="application/vnd.ms-office.chartstyle+xml"/>
  <Override PartName="/ppt/charts/colors3.xml" ContentType="application/vnd.ms-office.chartcolorstyle+xml"/>
  <Override PartName="/ppt/tags/tag92.xml" ContentType="application/vnd.openxmlformats-officedocument.presentationml.tags+xml"/>
  <Override PartName="/ppt/notesSlides/notesSlide16.xml" ContentType="application/vnd.openxmlformats-officedocument.presentationml.notesSlide+xml"/>
  <Override PartName="/ppt/charts/chart64.xml" ContentType="application/vnd.openxmlformats-officedocument.drawingml.chart+xml"/>
  <Override PartName="/ppt/charts/style4.xml" ContentType="application/vnd.ms-office.chartstyle+xml"/>
  <Override PartName="/ppt/charts/colors4.xml" ContentType="application/vnd.ms-office.chartcolorstyle+xml"/>
  <Override PartName="/ppt/tags/tag93.xml" ContentType="application/vnd.openxmlformats-officedocument.presentationml.tags+xml"/>
  <Override PartName="/ppt/notesSlides/notesSlide17.xml" ContentType="application/vnd.openxmlformats-officedocument.presentationml.notesSlide+xml"/>
  <Override PartName="/ppt/charts/chart65.xml" ContentType="application/vnd.openxmlformats-officedocument.drawingml.chart+xml"/>
  <Override PartName="/ppt/charts/style5.xml" ContentType="application/vnd.ms-office.chartstyle+xml"/>
  <Override PartName="/ppt/charts/colors5.xml" ContentType="application/vnd.ms-office.chartcolorstyle+xml"/>
  <Override PartName="/ppt/tags/tag94.xml" ContentType="application/vnd.openxmlformats-officedocument.presentationml.tags+xml"/>
  <Override PartName="/ppt/notesSlides/notesSlide18.xml" ContentType="application/vnd.openxmlformats-officedocument.presentationml.notesSlide+xml"/>
  <Override PartName="/ppt/charts/chart66.xml" ContentType="application/vnd.openxmlformats-officedocument.drawingml.chart+xml"/>
  <Override PartName="/ppt/charts/style6.xml" ContentType="application/vnd.ms-office.chartstyle+xml"/>
  <Override PartName="/ppt/charts/colors6.xml" ContentType="application/vnd.ms-office.chartcolorstyle+xml"/>
  <Override PartName="/ppt/tags/tag95.xml" ContentType="application/vnd.openxmlformats-officedocument.presentationml.tags+xml"/>
  <Override PartName="/ppt/notesSlides/notesSlide19.xml" ContentType="application/vnd.openxmlformats-officedocument.presentationml.notesSlide+xml"/>
  <Override PartName="/ppt/charts/chart67.xml" ContentType="application/vnd.openxmlformats-officedocument.drawingml.chart+xml"/>
  <Override PartName="/ppt/charts/style7.xml" ContentType="application/vnd.ms-office.chartstyle+xml"/>
  <Override PartName="/ppt/charts/colors7.xml" ContentType="application/vnd.ms-office.chartcolorstyle+xml"/>
  <Override PartName="/ppt/tags/tag96.xml" ContentType="application/vnd.openxmlformats-officedocument.presentationml.tags+xml"/>
  <Override PartName="/ppt/notesSlides/notesSlide20.xml" ContentType="application/vnd.openxmlformats-officedocument.presentationml.notesSlide+xml"/>
  <Override PartName="/ppt/charts/chart68.xml" ContentType="application/vnd.openxmlformats-officedocument.drawingml.chart+xml"/>
  <Override PartName="/ppt/charts/style8.xml" ContentType="application/vnd.ms-office.chartstyle+xml"/>
  <Override PartName="/ppt/charts/colors8.xml" ContentType="application/vnd.ms-office.chartcolorstyle+xml"/>
  <Override PartName="/ppt/tags/tag97.xml" ContentType="application/vnd.openxmlformats-officedocument.presentationml.tags+xml"/>
  <Override PartName="/ppt/notesSlides/notesSlide21.xml" ContentType="application/vnd.openxmlformats-officedocument.presentationml.notesSlide+xml"/>
  <Override PartName="/ppt/charts/chart69.xml" ContentType="application/vnd.openxmlformats-officedocument.drawingml.chart+xml"/>
  <Override PartName="/ppt/charts/style9.xml" ContentType="application/vnd.ms-office.chartstyle+xml"/>
  <Override PartName="/ppt/charts/colors9.xml" ContentType="application/vnd.ms-office.chartcolorstyle+xml"/>
  <Override PartName="/ppt/tags/tag98.xml" ContentType="application/vnd.openxmlformats-officedocument.presentationml.tags+xml"/>
  <Override PartName="/ppt/notesSlides/notesSlide22.xml" ContentType="application/vnd.openxmlformats-officedocument.presentationml.notesSlide+xml"/>
  <Override PartName="/ppt/charts/chart70.xml" ContentType="application/vnd.openxmlformats-officedocument.drawingml.chart+xml"/>
  <Override PartName="/ppt/charts/style10.xml" ContentType="application/vnd.ms-office.chartstyle+xml"/>
  <Override PartName="/ppt/charts/colors10.xml" ContentType="application/vnd.ms-office.chartcolorstyle+xml"/>
  <Override PartName="/ppt/tags/tag99.xml" ContentType="application/vnd.openxmlformats-officedocument.presentationml.tags+xml"/>
  <Override PartName="/ppt/notesSlides/notesSlide23.xml" ContentType="application/vnd.openxmlformats-officedocument.presentationml.notesSlide+xml"/>
  <Override PartName="/ppt/charts/chart71.xml" ContentType="application/vnd.openxmlformats-officedocument.drawingml.chart+xml"/>
  <Override PartName="/ppt/charts/style11.xml" ContentType="application/vnd.ms-office.chartstyle+xml"/>
  <Override PartName="/ppt/charts/colors11.xml" ContentType="application/vnd.ms-office.chartcolorstyle+xml"/>
  <Override PartName="/ppt/tags/tag100.xml" ContentType="application/vnd.openxmlformats-officedocument.presentationml.tags+xml"/>
  <Override PartName="/ppt/notesSlides/notesSlide24.xml" ContentType="application/vnd.openxmlformats-officedocument.presentationml.notesSlide+xml"/>
  <Override PartName="/ppt/charts/chart72.xml" ContentType="application/vnd.openxmlformats-officedocument.drawingml.chart+xml"/>
  <Override PartName="/ppt/charts/style12.xml" ContentType="application/vnd.ms-office.chartstyle+xml"/>
  <Override PartName="/ppt/charts/colors12.xml" ContentType="application/vnd.ms-office.chartcolorstyle+xml"/>
  <Override PartName="/ppt/tags/tag101.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style13.xml" ContentType="application/vnd.ms-office.chartstyle+xml"/>
  <Override PartName="/ppt/charts/colors13.xml" ContentType="application/vnd.ms-office.chartcolorstyle+xml"/>
  <Override PartName="/ppt/tags/tag102.xml" ContentType="application/vnd.openxmlformats-officedocument.presentationml.tags+xml"/>
  <Override PartName="/ppt/notesSlides/notesSlide26.xml" ContentType="application/vnd.openxmlformats-officedocument.presentationml.notesSlide+xml"/>
  <Override PartName="/ppt/charts/chart74.xml" ContentType="application/vnd.openxmlformats-officedocument.drawingml.chart+xml"/>
  <Override PartName="/ppt/charts/style14.xml" ContentType="application/vnd.ms-office.chartstyle+xml"/>
  <Override PartName="/ppt/charts/colors14.xml" ContentType="application/vnd.ms-office.chartcolorstyle+xml"/>
  <Override PartName="/ppt/tags/tag103.xml" ContentType="application/vnd.openxmlformats-officedocument.presentationml.tags+xml"/>
  <Override PartName="/ppt/notesSlides/notesSlide27.xml" ContentType="application/vnd.openxmlformats-officedocument.presentationml.notesSlide+xml"/>
  <Override PartName="/ppt/charts/chart75.xml" ContentType="application/vnd.openxmlformats-officedocument.drawingml.chart+xml"/>
  <Override PartName="/ppt/charts/style15.xml" ContentType="application/vnd.ms-office.chartstyle+xml"/>
  <Override PartName="/ppt/charts/colors15.xml" ContentType="application/vnd.ms-office.chartcolorstyle+xml"/>
  <Override PartName="/ppt/tags/tag104.xml" ContentType="application/vnd.openxmlformats-officedocument.presentationml.tags+xml"/>
  <Override PartName="/ppt/notesSlides/notesSlide28.xml" ContentType="application/vnd.openxmlformats-officedocument.presentationml.notesSlide+xml"/>
  <Override PartName="/ppt/charts/chart76.xml" ContentType="application/vnd.openxmlformats-officedocument.drawingml.chart+xml"/>
  <Override PartName="/ppt/charts/style16.xml" ContentType="application/vnd.ms-office.chartstyle+xml"/>
  <Override PartName="/ppt/charts/colors16.xml" ContentType="application/vnd.ms-office.chartcolorstyle+xml"/>
  <Override PartName="/ppt/tags/tag105.xml" ContentType="application/vnd.openxmlformats-officedocument.presentationml.tags+xml"/>
  <Override PartName="/ppt/notesSlides/notesSlide29.xml" ContentType="application/vnd.openxmlformats-officedocument.presentationml.notesSlide+xml"/>
  <Override PartName="/ppt/charts/chart77.xml" ContentType="application/vnd.openxmlformats-officedocument.drawingml.chart+xml"/>
  <Override PartName="/ppt/charts/style17.xml" ContentType="application/vnd.ms-office.chartstyle+xml"/>
  <Override PartName="/ppt/charts/colors17.xml" ContentType="application/vnd.ms-office.chartcolorstyle+xml"/>
  <Override PartName="/ppt/tags/tag106.xml" ContentType="application/vnd.openxmlformats-officedocument.presentationml.tags+xml"/>
  <Override PartName="/ppt/notesSlides/notesSlide30.xml" ContentType="application/vnd.openxmlformats-officedocument.presentationml.notesSlide+xml"/>
  <Override PartName="/ppt/charts/chart78.xml" ContentType="application/vnd.openxmlformats-officedocument.drawingml.chart+xml"/>
  <Override PartName="/ppt/charts/style18.xml" ContentType="application/vnd.ms-office.chartstyle+xml"/>
  <Override PartName="/ppt/charts/colors18.xml" ContentType="application/vnd.ms-office.chartcolorstyle+xml"/>
  <Override PartName="/ppt/tags/tag107.xml" ContentType="application/vnd.openxmlformats-officedocument.presentationml.tags+xml"/>
  <Override PartName="/ppt/notesSlides/notesSlide31.xml" ContentType="application/vnd.openxmlformats-officedocument.presentationml.notesSlide+xml"/>
  <Override PartName="/ppt/charts/chart79.xml" ContentType="application/vnd.openxmlformats-officedocument.drawingml.chart+xml"/>
  <Override PartName="/ppt/charts/style19.xml" ContentType="application/vnd.ms-office.chartstyle+xml"/>
  <Override PartName="/ppt/charts/colors19.xml" ContentType="application/vnd.ms-office.chartcolorstyle+xml"/>
  <Override PartName="/ppt/tags/tag108.xml" ContentType="application/vnd.openxmlformats-officedocument.presentationml.tags+xml"/>
  <Override PartName="/ppt/notesSlides/notesSlide32.xml" ContentType="application/vnd.openxmlformats-officedocument.presentationml.notesSlide+xml"/>
  <Override PartName="/ppt/charts/chart80.xml" ContentType="application/vnd.openxmlformats-officedocument.drawingml.chart+xml"/>
  <Override PartName="/ppt/charts/style20.xml" ContentType="application/vnd.ms-office.chartstyle+xml"/>
  <Override PartName="/ppt/charts/colors20.xml" ContentType="application/vnd.ms-office.chartcolorstyle+xml"/>
  <Override PartName="/ppt/tags/tag109.xml" ContentType="application/vnd.openxmlformats-officedocument.presentationml.tags+xml"/>
  <Override PartName="/ppt/notesSlides/notesSlide33.xml" ContentType="application/vnd.openxmlformats-officedocument.presentationml.notesSlide+xml"/>
  <Override PartName="/ppt/charts/chart81.xml" ContentType="application/vnd.openxmlformats-officedocument.drawingml.chart+xml"/>
  <Override PartName="/ppt/charts/style21.xml" ContentType="application/vnd.ms-office.chartstyle+xml"/>
  <Override PartName="/ppt/charts/colors21.xml" ContentType="application/vnd.ms-office.chartcolorstyle+xml"/>
  <Override PartName="/ppt/tags/tag110.xml" ContentType="application/vnd.openxmlformats-officedocument.presentationml.tags+xml"/>
  <Override PartName="/ppt/notesSlides/notesSlide34.xml" ContentType="application/vnd.openxmlformats-officedocument.presentationml.notesSlide+xml"/>
  <Override PartName="/ppt/charts/chart82.xml" ContentType="application/vnd.openxmlformats-officedocument.drawingml.chart+xml"/>
  <Override PartName="/ppt/charts/style22.xml" ContentType="application/vnd.ms-office.chartstyle+xml"/>
  <Override PartName="/ppt/charts/colors22.xml" ContentType="application/vnd.ms-office.chartcolorstyle+xml"/>
  <Override PartName="/ppt/tags/tag111.xml" ContentType="application/vnd.openxmlformats-officedocument.presentationml.tags+xml"/>
  <Override PartName="/ppt/notesSlides/notesSlide35.xml" ContentType="application/vnd.openxmlformats-officedocument.presentationml.notesSlide+xml"/>
  <Override PartName="/ppt/charts/chart83.xml" ContentType="application/vnd.openxmlformats-officedocument.drawingml.chart+xml"/>
  <Override PartName="/ppt/charts/style23.xml" ContentType="application/vnd.ms-office.chartstyle+xml"/>
  <Override PartName="/ppt/charts/colors23.xml" ContentType="application/vnd.ms-office.chartcolorstyle+xml"/>
  <Override PartName="/ppt/tags/tag112.xml" ContentType="application/vnd.openxmlformats-officedocument.presentationml.tags+xml"/>
  <Override PartName="/ppt/notesSlides/notesSlide36.xml" ContentType="application/vnd.openxmlformats-officedocument.presentationml.notesSlide+xml"/>
  <Override PartName="/ppt/charts/chart84.xml" ContentType="application/vnd.openxmlformats-officedocument.drawingml.chart+xml"/>
  <Override PartName="/ppt/charts/style24.xml" ContentType="application/vnd.ms-office.chartstyle+xml"/>
  <Override PartName="/ppt/charts/colors24.xml" ContentType="application/vnd.ms-office.chartcolorstyle+xml"/>
  <Override PartName="/ppt/tags/tag113.xml" ContentType="application/vnd.openxmlformats-officedocument.presentationml.tags+xml"/>
  <Override PartName="/ppt/notesSlides/notesSlide37.xml" ContentType="application/vnd.openxmlformats-officedocument.presentationml.notesSlide+xml"/>
  <Override PartName="/ppt/charts/chart85.xml" ContentType="application/vnd.openxmlformats-officedocument.drawingml.chart+xml"/>
  <Override PartName="/ppt/charts/style25.xml" ContentType="application/vnd.ms-office.chartstyle+xml"/>
  <Override PartName="/ppt/charts/colors25.xml" ContentType="application/vnd.ms-office.chartcolorstyle+xml"/>
  <Override PartName="/ppt/tags/tag114.xml" ContentType="application/vnd.openxmlformats-officedocument.presentationml.tags+xml"/>
  <Override PartName="/ppt/notesSlides/notesSlide38.xml" ContentType="application/vnd.openxmlformats-officedocument.presentationml.notesSlide+xml"/>
  <Override PartName="/ppt/charts/chart86.xml" ContentType="application/vnd.openxmlformats-officedocument.drawingml.chart+xml"/>
  <Override PartName="/ppt/charts/style26.xml" ContentType="application/vnd.ms-office.chartstyle+xml"/>
  <Override PartName="/ppt/charts/colors26.xml" ContentType="application/vnd.ms-office.chartcolorstyle+xml"/>
  <Override PartName="/ppt/tags/tag115.xml" ContentType="application/vnd.openxmlformats-officedocument.presentationml.tags+xml"/>
  <Override PartName="/ppt/notesSlides/notesSlide39.xml" ContentType="application/vnd.openxmlformats-officedocument.presentationml.notesSlide+xml"/>
  <Override PartName="/ppt/charts/chart87.xml" ContentType="application/vnd.openxmlformats-officedocument.drawingml.chart+xml"/>
  <Override PartName="/ppt/charts/style27.xml" ContentType="application/vnd.ms-office.chartstyle+xml"/>
  <Override PartName="/ppt/charts/colors27.xml" ContentType="application/vnd.ms-office.chartcolorstyle+xml"/>
  <Override PartName="/ppt/tags/tag116.xml" ContentType="application/vnd.openxmlformats-officedocument.presentationml.tags+xml"/>
  <Override PartName="/ppt/notesSlides/notesSlide40.xml" ContentType="application/vnd.openxmlformats-officedocument.presentationml.notesSlide+xml"/>
  <Override PartName="/ppt/charts/chart88.xml" ContentType="application/vnd.openxmlformats-officedocument.drawingml.chart+xml"/>
  <Override PartName="/ppt/charts/style28.xml" ContentType="application/vnd.ms-office.chartstyle+xml"/>
  <Override PartName="/ppt/charts/colors28.xml" ContentType="application/vnd.ms-office.chartcolorstyle+xml"/>
  <Override PartName="/ppt/tags/tag117.xml" ContentType="application/vnd.openxmlformats-officedocument.presentationml.tags+xml"/>
  <Override PartName="/ppt/notesSlides/notesSlide41.xml" ContentType="application/vnd.openxmlformats-officedocument.presentationml.notesSlide+xml"/>
  <Override PartName="/ppt/charts/chart89.xml" ContentType="application/vnd.openxmlformats-officedocument.drawingml.chart+xml"/>
  <Override PartName="/ppt/charts/style29.xml" ContentType="application/vnd.ms-office.chartstyle+xml"/>
  <Override PartName="/ppt/charts/colors29.xml" ContentType="application/vnd.ms-office.chartcolorstyle+xml"/>
  <Override PartName="/ppt/tags/tag118.xml" ContentType="application/vnd.openxmlformats-officedocument.presentationml.tags+xml"/>
  <Override PartName="/ppt/notesSlides/notesSlide42.xml" ContentType="application/vnd.openxmlformats-officedocument.presentationml.notesSlide+xml"/>
  <Override PartName="/ppt/charts/chart90.xml" ContentType="application/vnd.openxmlformats-officedocument.drawingml.chart+xml"/>
  <Override PartName="/ppt/charts/style30.xml" ContentType="application/vnd.ms-office.chartstyle+xml"/>
  <Override PartName="/ppt/charts/colors30.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96"/>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B6674BC8-7F5D-4AC2-A0B3-A0A3B51B9EAC}">
          <p14:sldIdLst>
            <p14:sldId id="2147477365"/>
            <p14:sldId id="2147477366"/>
            <p14:sldId id="2147477367"/>
          </p14:sldIdLst>
        </p14:section>
        <p14:section name="Price Positioning Summary Sector" id="{46C23102-4FDB-4CCB-A0DB-87F4EC40DD0F}">
          <p14:sldIdLst>
            <p14:sldId id="2147477368"/>
            <p14:sldId id="2147477369"/>
            <p14:sldId id="2147477370"/>
          </p14:sldIdLst>
        </p14:section>
        <p14:section name="Price Positioning Summary Segment" id="{12D31FE1-AB29-40FB-9C0D-6DE0C88CC4AD}">
          <p14:sldIdLst>
            <p14:sldId id="2147477371"/>
            <p14:sldId id="2147477372"/>
            <p14:sldId id="2147477373"/>
          </p14:sldIdLst>
        </p14:section>
        <p14:section name="Price Positioning Analysis By Brands" id="{49C1F2C2-DA80-4D62-9A2D-C4C04FC97E32}">
          <p14:sldIdLst>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Lst>
        </p14:section>
        <p14:section name="Price Positioning Analysis By Manufacturer" id="{942BE7E1-4B7A-43ED-A725-02EE90437ABC}">
          <p14:sldIdLst>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Lst>
        </p14:section>
        <p14:section name="Sectors Share and Growth By Brands" id="{AF5C1DBF-5B32-4995-AA7C-2EF5FD80A4B0}">
          <p14:sldIdLst>
            <p14:sldId id="2147477414"/>
            <p14:sldId id="2147477415"/>
            <p14:sldId id="2147477416"/>
          </p14:sldIdLst>
        </p14:section>
        <p14:section name="Segments Share and Growth By Brands" id="{03B4544C-348E-49EC-9713-653D25B242D8}">
          <p14:sldIdLst>
            <p14:sldId id="2147477417"/>
            <p14:sldId id="2147477418"/>
            <p14:sldId id="2147477419"/>
          </p14:sldIdLst>
        </p14:section>
        <p14:section name="Sectors Share and Growth By Manufacturer" id="{B3A1131A-6A1D-4B06-AF02-D65F15ED5BF2}">
          <p14:sldIdLst>
            <p14:sldId id="2147477420"/>
            <p14:sldId id="2147477421"/>
            <p14:sldId id="2147477422"/>
          </p14:sldIdLst>
        </p14:section>
        <p14:section name="Segments Share and Growth By Manufacturer" id="{A9AAD158-D6C6-42A9-8364-3444EBBCF1DA}">
          <p14:sldIdLst>
            <p14:sldId id="2147477423"/>
            <p14:sldId id="2147477424"/>
            <p14:sldId id="2147477425"/>
          </p14:sldIdLst>
        </p14:section>
        <p14:section name="Sec/Seg Value Sales Vs Avg Price By Manufacturer" id="{C2003A90-11A3-496E-BA8E-4918B1A19D69}">
          <p14:sldIdLst>
            <p14:sldId id="2147477426"/>
            <p14:sldId id="2147477427"/>
            <p14:sldId id="2147477428"/>
          </p14:sldIdLst>
        </p14:section>
        <p14:section name="Sec/Seg Value Sales Vs Avg Price" id="{F7FA47C8-C926-431D-B7D0-5A0EE2C82F29}">
          <p14:sldIdLst>
            <p14:sldId id="2147477429"/>
            <p14:sldId id="2147477430"/>
            <p14:sldId id="2147477431"/>
            <p14:sldId id="2147477432"/>
            <p14:sldId id="2147477433"/>
            <p14:sldId id="2147477434"/>
            <p14:sldId id="2147477435"/>
            <p14:sldId id="2147477436"/>
            <p14:sldId id="2147477437"/>
          </p14:sldIdLst>
        </p14:section>
        <p14:section name="Sectors Value Sales Vs Avg Price" id="{95FCDE4B-11A3-4B4A-B0E0-A885F64DEEDC}">
          <p14:sldIdLst>
            <p14:sldId id="2147477438"/>
            <p14:sldId id="2147477439"/>
            <p14:sldId id="2147477440"/>
            <p14:sldId id="2147477441"/>
            <p14:sldId id="2147477442"/>
            <p14:sldId id="2147477443"/>
            <p14:sldId id="2147477444"/>
            <p14:sldId id="2147477445"/>
            <p14:sldId id="2147477446"/>
          </p14:sldIdLst>
        </p14:section>
        <p14:section name="Segment Value Sales Vs Avg Price" id="{548A9678-D114-4BBE-AECD-8E06C04BBE85}">
          <p14:sldIdLst>
            <p14:sldId id="2147477447"/>
            <p14:sldId id="2147477448"/>
            <p14:sldId id="2147477449"/>
            <p14:sldId id="2147477450"/>
            <p14:sldId id="2147477451"/>
            <p14:sldId id="2147477452"/>
            <p14:sldId id="2147477453"/>
            <p14:sldId id="2147477454"/>
            <p14:sldId id="214747745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theme" Target="theme/theme1.xml"/><Relationship Id="rId10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viewProps" Target="viewProps.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1.xml"/><Relationship Id="rId1" Type="http://schemas.microsoft.com/office/2011/relationships/chartStyle" Target="style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2.xml"/><Relationship Id="rId1" Type="http://schemas.microsoft.com/office/2011/relationships/chartStyle" Target="style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3.xml"/><Relationship Id="rId1" Type="http://schemas.microsoft.com/office/2011/relationships/chartStyle" Target="style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4.xml"/><Relationship Id="rId1" Type="http://schemas.microsoft.com/office/2011/relationships/chartStyle" Target="style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5.xml"/><Relationship Id="rId1" Type="http://schemas.microsoft.com/office/2011/relationships/chartStyle" Target="style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xml"/><Relationship Id="rId1" Type="http://schemas.microsoft.com/office/2011/relationships/chartStyle" Target="style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7.xml"/><Relationship Id="rId1" Type="http://schemas.microsoft.com/office/2011/relationships/chartStyle" Target="style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8.xml"/><Relationship Id="rId1" Type="http://schemas.microsoft.com/office/2011/relationships/chartStyle" Target="style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9.xml"/><Relationship Id="rId1" Type="http://schemas.microsoft.com/office/2011/relationships/chartStyle" Target="style9.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10.xml"/><Relationship Id="rId1" Type="http://schemas.microsoft.com/office/2011/relationships/chartStyle" Target="style1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11.xml"/><Relationship Id="rId1" Type="http://schemas.microsoft.com/office/2011/relationships/chartStyle" Target="style1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12.xml"/><Relationship Id="rId1" Type="http://schemas.microsoft.com/office/2011/relationships/chartStyle" Target="style1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13.xml"/><Relationship Id="rId1" Type="http://schemas.microsoft.com/office/2011/relationships/chartStyle" Target="style1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14.xml"/><Relationship Id="rId1" Type="http://schemas.microsoft.com/office/2011/relationships/chartStyle" Target="style1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15.xml"/><Relationship Id="rId1" Type="http://schemas.microsoft.com/office/2011/relationships/chartStyle" Target="style1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16.xml"/><Relationship Id="rId1" Type="http://schemas.microsoft.com/office/2011/relationships/chartStyle" Target="style1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17.xml"/><Relationship Id="rId1" Type="http://schemas.microsoft.com/office/2011/relationships/chartStyle" Target="style1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18.xml"/><Relationship Id="rId1" Type="http://schemas.microsoft.com/office/2011/relationships/chartStyle" Target="style1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19.xml"/><Relationship Id="rId1" Type="http://schemas.microsoft.com/office/2011/relationships/chartStyle" Target="style1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20.xml"/><Relationship Id="rId1" Type="http://schemas.microsoft.com/office/2011/relationships/chartStyle" Target="style2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21.xml"/><Relationship Id="rId1" Type="http://schemas.microsoft.com/office/2011/relationships/chartStyle" Target="style2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22.xml"/><Relationship Id="rId1" Type="http://schemas.microsoft.com/office/2011/relationships/chartStyle" Target="style22.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23.xml"/><Relationship Id="rId1" Type="http://schemas.microsoft.com/office/2011/relationships/chartStyle" Target="style23.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24.xml"/><Relationship Id="rId1" Type="http://schemas.microsoft.com/office/2011/relationships/chartStyle" Target="style24.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25.xml"/><Relationship Id="rId1" Type="http://schemas.microsoft.com/office/2011/relationships/chartStyle" Target="style25.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26.xml"/><Relationship Id="rId1" Type="http://schemas.microsoft.com/office/2011/relationships/chartStyle" Target="style26.xml"/></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27.xml"/><Relationship Id="rId1" Type="http://schemas.microsoft.com/office/2011/relationships/chartStyle" Target="style27.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28.xml"/><Relationship Id="rId1" Type="http://schemas.microsoft.com/office/2011/relationships/chartStyle" Target="style28.xml"/></Relationships>
</file>

<file path=ppt/charts/_rels/chart89.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29.xml"/><Relationship Id="rId1" Type="http://schemas.microsoft.com/office/2011/relationships/chartStyle" Target="style29.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30.xml"/><Relationship Id="rId1" Type="http://schemas.microsoft.com/office/2011/relationships/chartStyle" Target="style30.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E88881-E91A-496F-BF7C-3BFE226DD0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E0D33B-8348-4841-8CC2-ABAABC0FD3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F7A211-9ED6-4479-9F31-D9AC0C2CD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0A030E-E066-477E-8270-44E0092EC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01E107-D743-4690-8BCE-44B1CEF4A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83E28F-98B8-4931-9DBB-066759C23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EFA0F52-EC8E-43F5-9B10-129E9D170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8B0514A-EB0A-4A3D-A705-1F2C408D6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792999999999999</c:v>
                </c:pt>
                <c:pt idx="1">
                  <c:v>2.3864999999999998</c:v>
                </c:pt>
                <c:pt idx="2">
                  <c:v>2.3683000000000001</c:v>
                </c:pt>
                <c:pt idx="3">
                  <c:v>2.8965999999999998</c:v>
                </c:pt>
                <c:pt idx="4">
                  <c:v>2.754</c:v>
                </c:pt>
                <c:pt idx="5">
                  <c:v>3.2810999999999999</c:v>
                </c:pt>
                <c:pt idx="6">
                  <c:v>2.9582999999999999</c:v>
                </c:pt>
                <c:pt idx="7">
                  <c:v>2.5394000000000001</c:v>
                </c:pt>
              </c:numCache>
            </c:numRef>
          </c:xVal>
          <c:yVal>
            <c:numRef>
              <c:f>Sheet1!$B$2:$B$9</c:f>
              <c:numCache>
                <c:formatCode>General</c:formatCode>
                <c:ptCount val="8"/>
                <c:pt idx="0">
                  <c:v>0.84699999999999998</c:v>
                </c:pt>
                <c:pt idx="1">
                  <c:v>0.82699999999999996</c:v>
                </c:pt>
                <c:pt idx="2">
                  <c:v>1.127</c:v>
                </c:pt>
                <c:pt idx="3">
                  <c:v>1.1100000000000001</c:v>
                </c:pt>
                <c:pt idx="4">
                  <c:v>1.0529999999999999</c:v>
                </c:pt>
                <c:pt idx="5">
                  <c:v>0.90400000000000003</c:v>
                </c:pt>
                <c:pt idx="6">
                  <c:v>1.115</c:v>
                </c:pt>
                <c:pt idx="7">
                  <c:v>1.5009999999999999</c:v>
                </c:pt>
              </c:numCache>
            </c:numRef>
          </c:yVal>
          <c:bubbleSize>
            <c:numRef>
              <c:f>Sheet1!$C$2:$C$9</c:f>
              <c:numCache>
                <c:formatCode>General</c:formatCode>
                <c:ptCount val="8"/>
                <c:pt idx="0">
                  <c:v>623932113</c:v>
                </c:pt>
                <c:pt idx="1">
                  <c:v>74730598</c:v>
                </c:pt>
                <c:pt idx="2">
                  <c:v>60716546</c:v>
                </c:pt>
                <c:pt idx="3">
                  <c:v>54596188</c:v>
                </c:pt>
                <c:pt idx="4">
                  <c:v>49577769</c:v>
                </c:pt>
                <c:pt idx="5">
                  <c:v>35786185</c:v>
                </c:pt>
                <c:pt idx="6">
                  <c:v>29293535</c:v>
                </c:pt>
                <c:pt idx="7">
                  <c:v>26066303</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Galbani</c:v>
                  </c:pt>
                  <c:pt idx="3">
                    <c:v>St Moret</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D531309-FD3D-44E9-8F7F-D83D07072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3A32D98-22D6-4FCE-8951-6A69A05A1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F37405F-A8D9-48E2-AC75-1D4169B47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13FBF72-C8DC-417F-B6DD-6A1D27CF9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A2ABC92-FD29-42B0-95F0-841FC22A2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D2BB8B43-E2C5-483C-A454-7F021A86B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415642E1-60B5-4549-92BE-FCCA4C570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78813E6F-24AE-43F7-A6E6-FB200D198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9350000000000001</c:v>
                </c:pt>
                <c:pt idx="1">
                  <c:v>2.1753</c:v>
                </c:pt>
                <c:pt idx="2">
                  <c:v>3.5583</c:v>
                </c:pt>
                <c:pt idx="3">
                  <c:v>2.6888000000000001</c:v>
                </c:pt>
                <c:pt idx="4">
                  <c:v>2.6114000000000002</c:v>
                </c:pt>
              </c:numCache>
            </c:numRef>
          </c:xVal>
          <c:yVal>
            <c:numRef>
              <c:f>Sheet1!$B$2:$B$6</c:f>
              <c:numCache>
                <c:formatCode>General</c:formatCode>
                <c:ptCount val="5"/>
                <c:pt idx="0">
                  <c:v>0.88</c:v>
                </c:pt>
                <c:pt idx="1">
                  <c:v>1.0760000000000001</c:v>
                </c:pt>
                <c:pt idx="2">
                  <c:v>1.7609999999999999</c:v>
                </c:pt>
                <c:pt idx="3">
                  <c:v>1.331</c:v>
                </c:pt>
                <c:pt idx="4">
                  <c:v>0.97599999999999998</c:v>
                </c:pt>
              </c:numCache>
            </c:numRef>
          </c:yVal>
          <c:bubbleSize>
            <c:numRef>
              <c:f>Sheet1!$C$2:$C$6</c:f>
              <c:numCache>
                <c:formatCode>General</c:formatCode>
                <c:ptCount val="5"/>
                <c:pt idx="0">
                  <c:v>5772129</c:v>
                </c:pt>
                <c:pt idx="1">
                  <c:v>1439845</c:v>
                </c:pt>
                <c:pt idx="2">
                  <c:v>1178065</c:v>
                </c:pt>
                <c:pt idx="3">
                  <c:v>808897</c:v>
                </c:pt>
                <c:pt idx="4">
                  <c:v>736159</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St Moret</c:v>
                  </c:pt>
                  <c:pt idx="4">
                    <c:v>Private Label</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A22AFC3C-B9F8-4E86-A416-E781B5161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702F682-8B87-4ED4-A5F8-F626C996E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167F016B-1056-48EA-884D-24AB23403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0C75DDE5-7DE5-42AB-A69E-D68E652A67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4B31644B-8AFA-4A01-8E3D-4C598BFCD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90840127-CCAF-4292-BE58-681B22EAB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AFA57838-4586-4C3C-98C1-8BE67285B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7AF5C38A-4556-4014-B57B-3F097FD93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5875999999999999</c:v>
                </c:pt>
                <c:pt idx="1">
                  <c:v>2.0409000000000002</c:v>
                </c:pt>
                <c:pt idx="2">
                  <c:v>4.2469999999999999</c:v>
                </c:pt>
                <c:pt idx="3">
                  <c:v>3.7195999999999998</c:v>
                </c:pt>
                <c:pt idx="4">
                  <c:v>2.7090000000000001</c:v>
                </c:pt>
                <c:pt idx="5">
                  <c:v>1.2703</c:v>
                </c:pt>
              </c:numCache>
            </c:numRef>
          </c:xVal>
          <c:yVal>
            <c:numRef>
              <c:f>Sheet1!$B$2:$B$7</c:f>
              <c:numCache>
                <c:formatCode>General</c:formatCode>
                <c:ptCount val="6"/>
                <c:pt idx="0">
                  <c:v>0.84099999999999997</c:v>
                </c:pt>
                <c:pt idx="1">
                  <c:v>1.101</c:v>
                </c:pt>
                <c:pt idx="2">
                  <c:v>1.595</c:v>
                </c:pt>
                <c:pt idx="3">
                  <c:v>1.454</c:v>
                </c:pt>
                <c:pt idx="4">
                  <c:v>1.4630000000000001</c:v>
                </c:pt>
                <c:pt idx="5">
                  <c:v>0.86899999999999999</c:v>
                </c:pt>
              </c:numCache>
            </c:numRef>
          </c:yVal>
          <c:bubbleSize>
            <c:numRef>
              <c:f>Sheet1!$C$2:$C$7</c:f>
              <c:numCache>
                <c:formatCode>General</c:formatCode>
                <c:ptCount val="6"/>
                <c:pt idx="0">
                  <c:v>3832081</c:v>
                </c:pt>
                <c:pt idx="1">
                  <c:v>2828611</c:v>
                </c:pt>
                <c:pt idx="2">
                  <c:v>442466</c:v>
                </c:pt>
                <c:pt idx="3">
                  <c:v>265726</c:v>
                </c:pt>
                <c:pt idx="4">
                  <c:v>173579</c:v>
                </c:pt>
                <c:pt idx="5">
                  <c:v>47</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Raguin</c:v>
                  </c:pt>
                  <c:pt idx="4">
                    <c:v>Boursin</c:v>
                  </c:pt>
                  <c:pt idx="5">
                    <c:v>La Vache Qui Rit</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C55A1C-7444-4085-B8F5-C64F8F9A3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6B13E5-CC07-47C4-9AE3-D1C606765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6A58AD-8C52-498F-8B4D-BAEBE9A9A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A2C145B-D097-4560-9CE5-5BC0D8A5C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3F732E-D758-44F9-9173-19CD2DE63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055428-B05C-439A-BC93-BEE4687E5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10E833C-012B-45D2-932A-048B1743E6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0A58581-30FA-4E7F-88D6-FCE6ECE16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5445000000000002</c:v>
                </c:pt>
                <c:pt idx="1">
                  <c:v>3.2810999999999999</c:v>
                </c:pt>
                <c:pt idx="2">
                  <c:v>2.9834999999999998</c:v>
                </c:pt>
                <c:pt idx="3">
                  <c:v>2.2189999999999999</c:v>
                </c:pt>
                <c:pt idx="4">
                  <c:v>2.7052999999999998</c:v>
                </c:pt>
                <c:pt idx="5">
                  <c:v>3.2698999999999998</c:v>
                </c:pt>
              </c:numCache>
            </c:numRef>
          </c:xVal>
          <c:yVal>
            <c:numRef>
              <c:f>Sheet1!$B$2:$B$7</c:f>
              <c:numCache>
                <c:formatCode>General</c:formatCode>
                <c:ptCount val="6"/>
                <c:pt idx="0">
                  <c:v>1.419</c:v>
                </c:pt>
                <c:pt idx="1">
                  <c:v>0.873</c:v>
                </c:pt>
                <c:pt idx="2">
                  <c:v>1.0669999999999999</c:v>
                </c:pt>
                <c:pt idx="3">
                  <c:v>0.624</c:v>
                </c:pt>
                <c:pt idx="4">
                  <c:v>1.8620000000000001</c:v>
                </c:pt>
                <c:pt idx="5">
                  <c:v>1.425</c:v>
                </c:pt>
              </c:numCache>
            </c:numRef>
          </c:yVal>
          <c:bubbleSize>
            <c:numRef>
              <c:f>Sheet1!$C$2:$C$7</c:f>
              <c:numCache>
                <c:formatCode>General</c:formatCode>
                <c:ptCount val="6"/>
                <c:pt idx="0">
                  <c:v>36162450</c:v>
                </c:pt>
                <c:pt idx="1">
                  <c:v>35786112</c:v>
                </c:pt>
                <c:pt idx="2">
                  <c:v>28035107</c:v>
                </c:pt>
                <c:pt idx="3">
                  <c:v>22083602</c:v>
                </c:pt>
                <c:pt idx="4">
                  <c:v>11823541</c:v>
                </c:pt>
                <c:pt idx="5">
                  <c:v>2634301</c:v>
                </c:pt>
              </c:numCache>
            </c:numRef>
          </c:bubbleSize>
          <c:bubble3D val="0"/>
          <c:extLst>
            <c:ext xmlns:c15="http://schemas.microsoft.com/office/drawing/2012/chart" uri="{02D57815-91ED-43cb-92C2-25804820EDAC}">
              <c15:datalabelsRange>
                <c15:f>Sheet1!$E$2:$E$10</c15:f>
                <c15:dlblRangeCache>
                  <c:ptCount val="9"/>
                  <c:pt idx="0">
                    <c:v>Mini Babybel</c:v>
                  </c:pt>
                  <c:pt idx="1">
                    <c:v>La Vache Qui Rit</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4FD5BDB-CAA5-4A12-B00C-ADAB67FF8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BD65B91-839C-4835-9B2B-6E99C2199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A7E2E7E-82C3-469D-AE29-47A0ACA83F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DCB9C9E4-6024-4204-BA7E-A644AD1EF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FE25A2D9-A846-4BDB-B8C7-2EC5D43F4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02C0466-FF74-4CFF-8942-7FE3030D2A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BFE71094-C926-4C39-95B6-E2B4A223F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AD49A51-BB8F-4F1A-BB4F-ACC794B7D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119999999999999</c:v>
                </c:pt>
                <c:pt idx="1">
                  <c:v>1.4815</c:v>
                </c:pt>
                <c:pt idx="2">
                  <c:v>2.4422000000000001</c:v>
                </c:pt>
                <c:pt idx="3">
                  <c:v>2.2902</c:v>
                </c:pt>
                <c:pt idx="4">
                  <c:v>2.4300000000000002</c:v>
                </c:pt>
                <c:pt idx="5">
                  <c:v>2.4110999999999998</c:v>
                </c:pt>
                <c:pt idx="6">
                  <c:v>2.4899</c:v>
                </c:pt>
                <c:pt idx="7">
                  <c:v>13</c:v>
                </c:pt>
              </c:numCache>
            </c:numRef>
          </c:xVal>
          <c:yVal>
            <c:numRef>
              <c:f>Sheet1!$B$2:$B$9</c:f>
              <c:numCache>
                <c:formatCode>General</c:formatCode>
                <c:ptCount val="8"/>
                <c:pt idx="0">
                  <c:v>1.1379999999999999</c:v>
                </c:pt>
                <c:pt idx="1">
                  <c:v>0.68100000000000005</c:v>
                </c:pt>
                <c:pt idx="2">
                  <c:v>1.024</c:v>
                </c:pt>
                <c:pt idx="3">
                  <c:v>1.1160000000000001</c:v>
                </c:pt>
                <c:pt idx="4">
                  <c:v>1.3640000000000001</c:v>
                </c:pt>
                <c:pt idx="5">
                  <c:v>1.085</c:v>
                </c:pt>
                <c:pt idx="6">
                  <c:v>1.5089999999999999</c:v>
                </c:pt>
                <c:pt idx="7">
                  <c:v>1.17</c:v>
                </c:pt>
              </c:numCache>
            </c:numRef>
          </c:yVal>
          <c:bubbleSize>
            <c:numRef>
              <c:f>Sheet1!$C$2:$C$9</c:f>
              <c:numCache>
                <c:formatCode>General</c:formatCode>
                <c:ptCount val="8"/>
                <c:pt idx="0">
                  <c:v>51751764</c:v>
                </c:pt>
                <c:pt idx="1">
                  <c:v>33615603</c:v>
                </c:pt>
                <c:pt idx="2">
                  <c:v>26453904</c:v>
                </c:pt>
                <c:pt idx="3">
                  <c:v>18616048</c:v>
                </c:pt>
                <c:pt idx="4">
                  <c:v>16298170</c:v>
                </c:pt>
                <c:pt idx="5">
                  <c:v>11587098</c:v>
                </c:pt>
                <c:pt idx="6">
                  <c:v>1258428</c:v>
                </c:pt>
                <c:pt idx="7">
                  <c:v>26</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E831F87-0166-41F6-AC42-374713A12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1225EAC-4973-4658-BC10-56D4F53DC7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E058750A-2D76-43BB-8D34-B7D23A3007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A626D946-9640-439B-A777-9105778835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8445FB3-C0D6-406C-8465-928A6EFB6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35E97CF5-7947-4F34-86F2-C0B52A8A1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14619AC-9175-4A07-868A-81C56DC89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EEBD63AD-BA31-4C72-B95A-2B3F3935A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581999999999999</c:v>
                </c:pt>
                <c:pt idx="1">
                  <c:v>2.3494999999999999</c:v>
                </c:pt>
                <c:pt idx="2">
                  <c:v>2.4449999999999998</c:v>
                </c:pt>
                <c:pt idx="3">
                  <c:v>2.9683000000000002</c:v>
                </c:pt>
                <c:pt idx="4">
                  <c:v>2.7303999999999999</c:v>
                </c:pt>
                <c:pt idx="5">
                  <c:v>2.2523</c:v>
                </c:pt>
              </c:numCache>
            </c:numRef>
          </c:xVal>
          <c:yVal>
            <c:numRef>
              <c:f>Sheet1!$B$2:$B$7</c:f>
              <c:numCache>
                <c:formatCode>General</c:formatCode>
                <c:ptCount val="6"/>
                <c:pt idx="0">
                  <c:v>0.89300000000000002</c:v>
                </c:pt>
                <c:pt idx="1">
                  <c:v>1.0309999999999999</c:v>
                </c:pt>
                <c:pt idx="2">
                  <c:v>1.1739999999999999</c:v>
                </c:pt>
                <c:pt idx="3">
                  <c:v>1.04</c:v>
                </c:pt>
                <c:pt idx="4">
                  <c:v>1.427</c:v>
                </c:pt>
                <c:pt idx="5">
                  <c:v>1.472</c:v>
                </c:pt>
              </c:numCache>
            </c:numRef>
          </c:yVal>
          <c:bubbleSize>
            <c:numRef>
              <c:f>Sheet1!$C$2:$C$7</c:f>
              <c:numCache>
                <c:formatCode>General</c:formatCode>
                <c:ptCount val="6"/>
                <c:pt idx="0">
                  <c:v>254514232</c:v>
                </c:pt>
                <c:pt idx="1">
                  <c:v>58401643</c:v>
                </c:pt>
                <c:pt idx="2">
                  <c:v>40044170</c:v>
                </c:pt>
                <c:pt idx="3">
                  <c:v>31611113</c:v>
                </c:pt>
                <c:pt idx="4">
                  <c:v>9755821</c:v>
                </c:pt>
                <c:pt idx="5">
                  <c:v>471812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BCAEC1-38D8-4F72-B7F4-6EDCACB2C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C4D29A1-4A0C-404E-A2BF-7C8852C3EA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88F40DE-5A8D-429B-9C9F-20F35F93DC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190489-2FC3-4ECD-A780-6CF15D2D5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82F7B7-534D-4242-BD01-A7867D222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ACFEF0-8964-4868-9764-8F19BD8AA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F7F21D0-AD65-486D-AF33-65BF14423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32E4AE2-EC35-4691-81AB-DDF4D8ECB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258</c:v>
                </c:pt>
                <c:pt idx="1">
                  <c:v>3.7176999999999998</c:v>
                </c:pt>
                <c:pt idx="2">
                  <c:v>2.9481000000000002</c:v>
                </c:pt>
                <c:pt idx="3">
                  <c:v>2.2936000000000001</c:v>
                </c:pt>
                <c:pt idx="4">
                  <c:v>2.7347999999999999</c:v>
                </c:pt>
                <c:pt idx="5">
                  <c:v>3.0028000000000001</c:v>
                </c:pt>
              </c:numCache>
            </c:numRef>
          </c:xVal>
          <c:yVal>
            <c:numRef>
              <c:f>Sheet1!$B$2:$B$7</c:f>
              <c:numCache>
                <c:formatCode>General</c:formatCode>
                <c:ptCount val="6"/>
                <c:pt idx="0">
                  <c:v>0.81299999999999994</c:v>
                </c:pt>
                <c:pt idx="1">
                  <c:v>1.339</c:v>
                </c:pt>
                <c:pt idx="2">
                  <c:v>0.98</c:v>
                </c:pt>
                <c:pt idx="3">
                  <c:v>0.67</c:v>
                </c:pt>
                <c:pt idx="4">
                  <c:v>1.853</c:v>
                </c:pt>
                <c:pt idx="5">
                  <c:v>1.5209999999999999</c:v>
                </c:pt>
              </c:numCache>
            </c:numRef>
          </c:yVal>
          <c:bubbleSize>
            <c:numRef>
              <c:f>Sheet1!$C$2:$C$7</c:f>
              <c:numCache>
                <c:formatCode>General</c:formatCode>
                <c:ptCount val="6"/>
                <c:pt idx="0">
                  <c:v>6741110</c:v>
                </c:pt>
                <c:pt idx="1">
                  <c:v>6669457</c:v>
                </c:pt>
                <c:pt idx="2">
                  <c:v>5524817</c:v>
                </c:pt>
                <c:pt idx="3">
                  <c:v>2504979</c:v>
                </c:pt>
                <c:pt idx="4">
                  <c:v>2314948</c:v>
                </c:pt>
                <c:pt idx="5">
                  <c:v>426610</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305CA4F-8FB7-4918-B513-0188B169F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94839182-E86C-416B-952D-D92877879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7384201-74C7-4049-9BA8-1B47A2D9A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A702C6E-4BD0-4A47-BCC1-F45E6D4D63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841E0A97-ECA1-46BB-85A0-4219B66C5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369ACE71-F5E9-41DE-BC83-99C90DEF6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C0455DF-DFDE-402F-A6FB-65FA80F0A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3499FCBD-157F-4371-BF0C-2144B098F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3.0028999999999999</c:v>
                </c:pt>
                <c:pt idx="1">
                  <c:v>2.4232</c:v>
                </c:pt>
                <c:pt idx="2">
                  <c:v>1.6344000000000001</c:v>
                </c:pt>
                <c:pt idx="3">
                  <c:v>2.3706</c:v>
                </c:pt>
                <c:pt idx="4">
                  <c:v>2.4558</c:v>
                </c:pt>
                <c:pt idx="5">
                  <c:v>2.4186999999999999</c:v>
                </c:pt>
                <c:pt idx="6">
                  <c:v>2.6312000000000002</c:v>
                </c:pt>
                <c:pt idx="7">
                  <c:v>13</c:v>
                </c:pt>
              </c:numCache>
            </c:numRef>
          </c:xVal>
          <c:yVal>
            <c:numRef>
              <c:f>Sheet1!$B$2:$B$9</c:f>
              <c:numCache>
                <c:formatCode>General</c:formatCode>
                <c:ptCount val="8"/>
                <c:pt idx="0">
                  <c:v>1.1180000000000001</c:v>
                </c:pt>
                <c:pt idx="1">
                  <c:v>0.95799999999999996</c:v>
                </c:pt>
                <c:pt idx="2">
                  <c:v>0.69299999999999995</c:v>
                </c:pt>
                <c:pt idx="3">
                  <c:v>1.0740000000000001</c:v>
                </c:pt>
                <c:pt idx="4">
                  <c:v>1.3029999999999999</c:v>
                </c:pt>
                <c:pt idx="5">
                  <c:v>1.006</c:v>
                </c:pt>
                <c:pt idx="6">
                  <c:v>1.4079999999999999</c:v>
                </c:pt>
                <c:pt idx="7">
                  <c:v>1.081</c:v>
                </c:pt>
              </c:numCache>
            </c:numRef>
          </c:yVal>
          <c:bubbleSize>
            <c:numRef>
              <c:f>Sheet1!$C$2:$C$9</c:f>
              <c:numCache>
                <c:formatCode>General</c:formatCode>
                <c:ptCount val="8"/>
                <c:pt idx="0">
                  <c:v>8811592</c:v>
                </c:pt>
                <c:pt idx="1">
                  <c:v>4758479</c:v>
                </c:pt>
                <c:pt idx="2">
                  <c:v>3845963</c:v>
                </c:pt>
                <c:pt idx="3">
                  <c:v>3148857</c:v>
                </c:pt>
                <c:pt idx="4">
                  <c:v>3035900</c:v>
                </c:pt>
                <c:pt idx="5">
                  <c:v>2202030</c:v>
                </c:pt>
                <c:pt idx="6">
                  <c:v>306866</c:v>
                </c:pt>
                <c:pt idx="7">
                  <c:v>26</c:v>
                </c:pt>
              </c:numCache>
            </c:numRef>
          </c:bubbleSize>
          <c:bubble3D val="0"/>
          <c:extLst>
            <c:ext xmlns:c15="http://schemas.microsoft.com/office/drawing/2012/chart" uri="{02D57815-91ED-43cb-92C2-25804820EDAC}">
              <c15:datalabelsRange>
                <c15:f>Sheet1!$E$2:$E$10</c15:f>
                <c15:dlblRangeCache>
                  <c:ptCount val="9"/>
                  <c:pt idx="0">
                    <c:v>St Moret</c:v>
                  </c:pt>
                  <c:pt idx="1">
                    <c:v>Paysan Breton</c:v>
                  </c:pt>
                  <c:pt idx="2">
                    <c:v>Private Label</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1D92B9D-C765-4BD7-BD9A-40817EA2EC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9CCC7C6-D0CE-42BC-831B-3C7697213A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47EA9F9B-B4D9-4413-A737-932725445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FA2385E9-D94A-4031-AA2B-F25446298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689700A3-DAD6-4C6E-9C29-B9A4B7B40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CDF6C2B0-21CC-48CA-A799-0B5F1B0F2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13C68BB5-2A5E-4376-9E03-8B097FA96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C75843D5-521A-4BBC-8AF8-F5C0D064C2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492</c:v>
                </c:pt>
                <c:pt idx="1">
                  <c:v>2.3096999999999999</c:v>
                </c:pt>
                <c:pt idx="2">
                  <c:v>2.6053999999999999</c:v>
                </c:pt>
                <c:pt idx="3">
                  <c:v>3.0032999999999999</c:v>
                </c:pt>
                <c:pt idx="4">
                  <c:v>2.6737000000000002</c:v>
                </c:pt>
                <c:pt idx="5">
                  <c:v>2.1617000000000002</c:v>
                </c:pt>
              </c:numCache>
            </c:numRef>
          </c:xVal>
          <c:yVal>
            <c:numRef>
              <c:f>Sheet1!$B$2:$B$7</c:f>
              <c:numCache>
                <c:formatCode>General</c:formatCode>
                <c:ptCount val="6"/>
                <c:pt idx="0">
                  <c:v>0.89800000000000002</c:v>
                </c:pt>
                <c:pt idx="1">
                  <c:v>0.96599999999999997</c:v>
                </c:pt>
                <c:pt idx="2">
                  <c:v>1.1839999999999999</c:v>
                </c:pt>
                <c:pt idx="3">
                  <c:v>0.96899999999999997</c:v>
                </c:pt>
                <c:pt idx="4">
                  <c:v>1.29</c:v>
                </c:pt>
                <c:pt idx="5">
                  <c:v>1.304</c:v>
                </c:pt>
              </c:numCache>
            </c:numRef>
          </c:yVal>
          <c:bubbleSize>
            <c:numRef>
              <c:f>Sheet1!$C$2:$C$7</c:f>
              <c:numCache>
                <c:formatCode>General</c:formatCode>
                <c:ptCount val="6"/>
                <c:pt idx="0">
                  <c:v>41826347</c:v>
                </c:pt>
                <c:pt idx="1">
                  <c:v>8667322</c:v>
                </c:pt>
                <c:pt idx="2">
                  <c:v>7504143</c:v>
                </c:pt>
                <c:pt idx="3">
                  <c:v>5982438</c:v>
                </c:pt>
                <c:pt idx="4">
                  <c:v>1935509</c:v>
                </c:pt>
                <c:pt idx="5">
                  <c:v>128934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38DC8F-2253-41F4-BC12-F7FF446FE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CE3620-AEA0-47F4-BFED-3FA0EE4441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90BC0E-01A9-4E42-9A62-E72F99465E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55751A-57C1-4EBB-994C-8FB5C53327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B25E976-8B4E-4993-9D15-78B6A296F5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792A50-6579-45AF-A8C9-C5079690C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5D63D7E-6F66-4A59-A15F-1935320907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60145FB-D2CC-4822-98D9-445AB883C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4443000000000001</c:v>
                </c:pt>
                <c:pt idx="1">
                  <c:v>3.3622999999999998</c:v>
                </c:pt>
                <c:pt idx="2">
                  <c:v>3.0697000000000001</c:v>
                </c:pt>
                <c:pt idx="3">
                  <c:v>2.0539000000000001</c:v>
                </c:pt>
                <c:pt idx="4">
                  <c:v>2.6819999999999999</c:v>
                </c:pt>
                <c:pt idx="5">
                  <c:v>3.7010999999999998</c:v>
                </c:pt>
              </c:numCache>
            </c:numRef>
          </c:xVal>
          <c:yVal>
            <c:numRef>
              <c:f>Sheet1!$B$2:$B$7</c:f>
              <c:numCache>
                <c:formatCode>General</c:formatCode>
                <c:ptCount val="6"/>
                <c:pt idx="0">
                  <c:v>0.88</c:v>
                </c:pt>
                <c:pt idx="1">
                  <c:v>1.3660000000000001</c:v>
                </c:pt>
                <c:pt idx="2">
                  <c:v>1.0269999999999999</c:v>
                </c:pt>
                <c:pt idx="3">
                  <c:v>0.629</c:v>
                </c:pt>
                <c:pt idx="4">
                  <c:v>1.804</c:v>
                </c:pt>
                <c:pt idx="5">
                  <c:v>1.266</c:v>
                </c:pt>
              </c:numCache>
            </c:numRef>
          </c:yVal>
          <c:bubbleSize>
            <c:numRef>
              <c:f>Sheet1!$C$2:$C$7</c:f>
              <c:numCache>
                <c:formatCode>General</c:formatCode>
                <c:ptCount val="6"/>
                <c:pt idx="0">
                  <c:v>5658598</c:v>
                </c:pt>
                <c:pt idx="1">
                  <c:v>4713246</c:v>
                </c:pt>
                <c:pt idx="2">
                  <c:v>4572915</c:v>
                </c:pt>
                <c:pt idx="3">
                  <c:v>2456999</c:v>
                </c:pt>
                <c:pt idx="4">
                  <c:v>1686737</c:v>
                </c:pt>
                <c:pt idx="5">
                  <c:v>437701</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B7F381F-4203-41EC-AE98-2EF4580F3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0EBEB9A-5524-41D1-92BB-1470AE08F2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9FE4706-6333-410A-B62C-EF3DB79EC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A9B720F-B7E9-4CC6-A56D-42D751535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343DA32-F023-4F4A-9B73-A8682D51B6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A846062-6E18-4007-A918-EEF11C4B6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B73781B9-4A5F-45DD-B9FA-802110364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41619E92-8E00-4B82-B10A-0005A8F11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885999999999999</c:v>
                </c:pt>
                <c:pt idx="1">
                  <c:v>1.3731</c:v>
                </c:pt>
                <c:pt idx="2">
                  <c:v>2.4413999999999998</c:v>
                </c:pt>
                <c:pt idx="3">
                  <c:v>2.536</c:v>
                </c:pt>
                <c:pt idx="4">
                  <c:v>2.3258999999999999</c:v>
                </c:pt>
                <c:pt idx="5">
                  <c:v>2.4405000000000001</c:v>
                </c:pt>
                <c:pt idx="6">
                  <c:v>2.4830000000000001</c:v>
                </c:pt>
                <c:pt idx="7">
                  <c:v>2.4062000000000001</c:v>
                </c:pt>
              </c:numCache>
            </c:numRef>
          </c:xVal>
          <c:yVal>
            <c:numRef>
              <c:f>Sheet1!$B$2:$B$9</c:f>
              <c:numCache>
                <c:formatCode>General</c:formatCode>
                <c:ptCount val="8"/>
                <c:pt idx="0">
                  <c:v>1.0760000000000001</c:v>
                </c:pt>
                <c:pt idx="1">
                  <c:v>0.67600000000000005</c:v>
                </c:pt>
                <c:pt idx="2">
                  <c:v>0.96299999999999997</c:v>
                </c:pt>
                <c:pt idx="3">
                  <c:v>1.319</c:v>
                </c:pt>
                <c:pt idx="4">
                  <c:v>1.081</c:v>
                </c:pt>
                <c:pt idx="5">
                  <c:v>1.038</c:v>
                </c:pt>
                <c:pt idx="6">
                  <c:v>0.98599999999999999</c:v>
                </c:pt>
                <c:pt idx="7">
                  <c:v>1.6379999999999999</c:v>
                </c:pt>
              </c:numCache>
            </c:numRef>
          </c:yVal>
          <c:bubbleSize>
            <c:numRef>
              <c:f>Sheet1!$C$2:$C$9</c:f>
              <c:numCache>
                <c:formatCode>General</c:formatCode>
                <c:ptCount val="8"/>
                <c:pt idx="0">
                  <c:v>8620814</c:v>
                </c:pt>
                <c:pt idx="1">
                  <c:v>3677885</c:v>
                </c:pt>
                <c:pt idx="2">
                  <c:v>3671057</c:v>
                </c:pt>
                <c:pt idx="3">
                  <c:v>3468819</c:v>
                </c:pt>
                <c:pt idx="4">
                  <c:v>2960143</c:v>
                </c:pt>
                <c:pt idx="5">
                  <c:v>1853432</c:v>
                </c:pt>
                <c:pt idx="6">
                  <c:v>911380</c:v>
                </c:pt>
                <c:pt idx="7">
                  <c:v>174106</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Boursin</c:v>
                  </c:pt>
                  <c:pt idx="4">
                    <c:v>Tartare</c:v>
                  </c:pt>
                  <c:pt idx="5">
                    <c:v>Carre Frais</c:v>
                  </c:pt>
                  <c:pt idx="6">
                    <c:v>Philadelphia</c:v>
                  </c:pt>
                  <c:pt idx="7">
                    <c:v>Kiri</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30D86C-5D34-409B-84BD-93D53C2A7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F7A478-7B2D-4F8D-A919-E7593FCA7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DE4D515-CC32-44D1-9627-491967069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B2A0D18-BF25-43F2-B559-DE6E1B25E6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03BC4F-DDF1-41B6-852A-761CF9F4A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AE3E22-72E5-419B-B246-9EE0B74803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B8BB23D-6D86-44C3-9C5B-D6FA22F71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90825F-86C5-47B5-AF25-06FC65741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96000000000002</c:v>
                </c:pt>
                <c:pt idx="1">
                  <c:v>2.4110999999999998</c:v>
                </c:pt>
                <c:pt idx="2">
                  <c:v>2.9895</c:v>
                </c:pt>
                <c:pt idx="3">
                  <c:v>2.3096999999999999</c:v>
                </c:pt>
                <c:pt idx="4">
                  <c:v>2.8786</c:v>
                </c:pt>
                <c:pt idx="5">
                  <c:v>3.2258</c:v>
                </c:pt>
                <c:pt idx="6">
                  <c:v>2.9295</c:v>
                </c:pt>
                <c:pt idx="7">
                  <c:v>2.5108999999999999</c:v>
                </c:pt>
              </c:numCache>
            </c:numRef>
          </c:xVal>
          <c:yVal>
            <c:numRef>
              <c:f>Sheet1!$B$2:$B$9</c:f>
              <c:numCache>
                <c:formatCode>General</c:formatCode>
                <c:ptCount val="8"/>
                <c:pt idx="0">
                  <c:v>0.86899999999999999</c:v>
                </c:pt>
                <c:pt idx="1">
                  <c:v>0.747</c:v>
                </c:pt>
                <c:pt idx="2">
                  <c:v>1.079</c:v>
                </c:pt>
                <c:pt idx="3">
                  <c:v>1.0529999999999999</c:v>
                </c:pt>
                <c:pt idx="4">
                  <c:v>1.0029999999999999</c:v>
                </c:pt>
                <c:pt idx="5">
                  <c:v>0.80500000000000005</c:v>
                </c:pt>
                <c:pt idx="6">
                  <c:v>0.98399999999999999</c:v>
                </c:pt>
                <c:pt idx="7">
                  <c:v>1.4279999999999999</c:v>
                </c:pt>
              </c:numCache>
            </c:numRef>
          </c:yVal>
          <c:bubbleSize>
            <c:numRef>
              <c:f>Sheet1!$C$2:$C$9</c:f>
              <c:numCache>
                <c:formatCode>General</c:formatCode>
                <c:ptCount val="8"/>
                <c:pt idx="0">
                  <c:v>78402914</c:v>
                </c:pt>
                <c:pt idx="1">
                  <c:v>9302551</c:v>
                </c:pt>
                <c:pt idx="2">
                  <c:v>9161063</c:v>
                </c:pt>
                <c:pt idx="3">
                  <c:v>8667367</c:v>
                </c:pt>
                <c:pt idx="4">
                  <c:v>8594536</c:v>
                </c:pt>
                <c:pt idx="5">
                  <c:v>6741136</c:v>
                </c:pt>
                <c:pt idx="6">
                  <c:v>5831683</c:v>
                </c:pt>
                <c:pt idx="7">
                  <c:v>5396319</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t Moret</c:v>
                  </c:pt>
                  <c:pt idx="3">
                    <c:v>Galbani</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45563E7-4567-474B-B098-1BE888EEF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DF55D06E-CD07-4563-9551-E954B2EF7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E842531A-EDD5-498D-9273-744E39F5C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E52FC671-1981-4166-BC1A-62F22F6E9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F5C02CE-A8D0-4341-9EF6-7131DC326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168C3752-40D9-44F4-8B7F-EE7A58A72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DDDE0BFC-4CF7-4B11-B41A-A3D5B6915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9973A56-E87A-4129-A504-AE45CD3DF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205000000000001</c:v>
                </c:pt>
                <c:pt idx="1">
                  <c:v>2.4689000000000001</c:v>
                </c:pt>
                <c:pt idx="2">
                  <c:v>2.9990000000000001</c:v>
                </c:pt>
                <c:pt idx="3">
                  <c:v>2.4729000000000001</c:v>
                </c:pt>
                <c:pt idx="4">
                  <c:v>2.9125000000000001</c:v>
                </c:pt>
                <c:pt idx="5">
                  <c:v>2.4173</c:v>
                </c:pt>
              </c:numCache>
            </c:numRef>
          </c:xVal>
          <c:yVal>
            <c:numRef>
              <c:f>Sheet1!$B$2:$B$7</c:f>
              <c:numCache>
                <c:formatCode>General</c:formatCode>
                <c:ptCount val="6"/>
                <c:pt idx="0">
                  <c:v>0.86799999999999999</c:v>
                </c:pt>
                <c:pt idx="1">
                  <c:v>1.0820000000000001</c:v>
                </c:pt>
                <c:pt idx="2">
                  <c:v>1.048</c:v>
                </c:pt>
                <c:pt idx="3">
                  <c:v>1.2310000000000001</c:v>
                </c:pt>
                <c:pt idx="4">
                  <c:v>1.5529999999999999</c:v>
                </c:pt>
                <c:pt idx="5">
                  <c:v>1.615</c:v>
                </c:pt>
              </c:numCache>
            </c:numRef>
          </c:yVal>
          <c:bubbleSize>
            <c:numRef>
              <c:f>Sheet1!$C$2:$C$7</c:f>
              <c:numCache>
                <c:formatCode>General</c:formatCode>
                <c:ptCount val="6"/>
                <c:pt idx="0">
                  <c:v>28870053</c:v>
                </c:pt>
                <c:pt idx="1">
                  <c:v>11602323</c:v>
                </c:pt>
                <c:pt idx="2">
                  <c:v>5268160</c:v>
                </c:pt>
                <c:pt idx="3">
                  <c:v>3859441</c:v>
                </c:pt>
                <c:pt idx="4">
                  <c:v>1520505</c:v>
                </c:pt>
                <c:pt idx="5">
                  <c:v>772136</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Salakis</c:v>
                  </c:pt>
                  <c:pt idx="3">
                    <c:v>Casa Azzurra</c:v>
                  </c:pt>
                  <c:pt idx="4">
                    <c:v>Islos</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D1EA91C-30C2-42BD-BE69-0EFAF561A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60E543-FB39-458A-9584-1B9A21C2C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BB8119-0DAF-4F8C-9A38-48B8F08D7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0858705-0DFE-424C-888B-92529D3A0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10053A-2912-4991-8D0D-9826FFF4B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DA4439-8D95-452F-AF58-DE2A11D35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BA42B20-6260-4580-A932-AA85A49CF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145807-AF15-4278-89E0-CA03F8DC1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792999999999999</c:v>
                </c:pt>
                <c:pt idx="1">
                  <c:v>2.3864999999999998</c:v>
                </c:pt>
                <c:pt idx="2">
                  <c:v>2.3683000000000001</c:v>
                </c:pt>
                <c:pt idx="3">
                  <c:v>2.8965999999999998</c:v>
                </c:pt>
                <c:pt idx="4">
                  <c:v>2.754</c:v>
                </c:pt>
                <c:pt idx="5">
                  <c:v>3.2810999999999999</c:v>
                </c:pt>
                <c:pt idx="6">
                  <c:v>2.9582999999999999</c:v>
                </c:pt>
                <c:pt idx="7">
                  <c:v>2.5394000000000001</c:v>
                </c:pt>
              </c:numCache>
            </c:numRef>
          </c:xVal>
          <c:yVal>
            <c:numRef>
              <c:f>Sheet1!$B$2:$B$9</c:f>
              <c:numCache>
                <c:formatCode>General</c:formatCode>
                <c:ptCount val="8"/>
                <c:pt idx="0">
                  <c:v>0.84699999999999998</c:v>
                </c:pt>
                <c:pt idx="1">
                  <c:v>0.82699999999999996</c:v>
                </c:pt>
                <c:pt idx="2">
                  <c:v>1.127</c:v>
                </c:pt>
                <c:pt idx="3">
                  <c:v>1.1100000000000001</c:v>
                </c:pt>
                <c:pt idx="4">
                  <c:v>1.0529999999999999</c:v>
                </c:pt>
                <c:pt idx="5">
                  <c:v>0.90400000000000003</c:v>
                </c:pt>
                <c:pt idx="6">
                  <c:v>1.115</c:v>
                </c:pt>
                <c:pt idx="7">
                  <c:v>1.5009999999999999</c:v>
                </c:pt>
              </c:numCache>
            </c:numRef>
          </c:yVal>
          <c:bubbleSize>
            <c:numRef>
              <c:f>Sheet1!$C$2:$C$9</c:f>
              <c:numCache>
                <c:formatCode>General</c:formatCode>
                <c:ptCount val="8"/>
                <c:pt idx="0">
                  <c:v>623932113</c:v>
                </c:pt>
                <c:pt idx="1">
                  <c:v>74730598</c:v>
                </c:pt>
                <c:pt idx="2">
                  <c:v>60716546</c:v>
                </c:pt>
                <c:pt idx="3">
                  <c:v>54596188</c:v>
                </c:pt>
                <c:pt idx="4">
                  <c:v>49577769</c:v>
                </c:pt>
                <c:pt idx="5">
                  <c:v>35786185</c:v>
                </c:pt>
                <c:pt idx="6">
                  <c:v>29293535</c:v>
                </c:pt>
                <c:pt idx="7">
                  <c:v>26066303</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Galbani</c:v>
                  </c:pt>
                  <c:pt idx="3">
                    <c:v>St Moret</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00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0884E98-A58E-4159-9F38-1FC753ECA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695C6D-5E11-4962-B73B-6FD32DA80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EF1B05-07A3-43EF-890E-07EA82A89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D1C840-C54A-4371-AA97-091BAA787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05F5242-A222-466B-BD66-03DE56535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07DBC00-647A-480A-9C52-3B751A381E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A8950C9-0D6A-440A-AD3D-FF5297FF0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797BF9B-FA55-49B6-891E-FD3A7DE61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96000000000002</c:v>
                </c:pt>
                <c:pt idx="1">
                  <c:v>2.4110999999999998</c:v>
                </c:pt>
                <c:pt idx="2">
                  <c:v>2.9895</c:v>
                </c:pt>
                <c:pt idx="3">
                  <c:v>2.3096999999999999</c:v>
                </c:pt>
                <c:pt idx="4">
                  <c:v>2.8786</c:v>
                </c:pt>
                <c:pt idx="5">
                  <c:v>3.2258</c:v>
                </c:pt>
                <c:pt idx="6">
                  <c:v>2.9295</c:v>
                </c:pt>
                <c:pt idx="7">
                  <c:v>2.5108999999999999</c:v>
                </c:pt>
              </c:numCache>
            </c:numRef>
          </c:xVal>
          <c:yVal>
            <c:numRef>
              <c:f>Sheet1!$B$2:$B$9</c:f>
              <c:numCache>
                <c:formatCode>General</c:formatCode>
                <c:ptCount val="8"/>
                <c:pt idx="0">
                  <c:v>0.86899999999999999</c:v>
                </c:pt>
                <c:pt idx="1">
                  <c:v>0.747</c:v>
                </c:pt>
                <c:pt idx="2">
                  <c:v>1.079</c:v>
                </c:pt>
                <c:pt idx="3">
                  <c:v>1.0529999999999999</c:v>
                </c:pt>
                <c:pt idx="4">
                  <c:v>1.0029999999999999</c:v>
                </c:pt>
                <c:pt idx="5">
                  <c:v>0.80500000000000005</c:v>
                </c:pt>
                <c:pt idx="6">
                  <c:v>0.98399999999999999</c:v>
                </c:pt>
                <c:pt idx="7">
                  <c:v>1.4279999999999999</c:v>
                </c:pt>
              </c:numCache>
            </c:numRef>
          </c:yVal>
          <c:bubbleSize>
            <c:numRef>
              <c:f>Sheet1!$C$2:$C$9</c:f>
              <c:numCache>
                <c:formatCode>General</c:formatCode>
                <c:ptCount val="8"/>
                <c:pt idx="0">
                  <c:v>78402914</c:v>
                </c:pt>
                <c:pt idx="1">
                  <c:v>9302551</c:v>
                </c:pt>
                <c:pt idx="2">
                  <c:v>9161063</c:v>
                </c:pt>
                <c:pt idx="3">
                  <c:v>8667367</c:v>
                </c:pt>
                <c:pt idx="4">
                  <c:v>8594536</c:v>
                </c:pt>
                <c:pt idx="5">
                  <c:v>6741136</c:v>
                </c:pt>
                <c:pt idx="6">
                  <c:v>5831683</c:v>
                </c:pt>
                <c:pt idx="7">
                  <c:v>5396319</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t Moret</c:v>
                  </c:pt>
                  <c:pt idx="3">
                    <c:v>Galbani</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2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A9A48F-9520-49E3-B106-A5FE6DED15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7D9AC7-0CE2-44FF-BCB5-85A2682E24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3AD1E7-6994-4B40-8EFE-9CD7524E7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77DD878-22A9-4953-A03D-7DC36FC70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951DB6B-04DF-4A2D-BB8D-AC13BB29F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970B0A-8FAE-4E37-90E0-AA73F91397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9EBC76A-DECD-42BC-BDA7-8BCC86F83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4BCA229-681E-4D74-8B9F-D71AF06F6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044999999999999</c:v>
                </c:pt>
                <c:pt idx="1">
                  <c:v>2.6366000000000001</c:v>
                </c:pt>
                <c:pt idx="2">
                  <c:v>3.2170999999999998</c:v>
                </c:pt>
                <c:pt idx="3">
                  <c:v>2.5398000000000001</c:v>
                </c:pt>
                <c:pt idx="4">
                  <c:v>2.9603000000000002</c:v>
                </c:pt>
                <c:pt idx="5">
                  <c:v>3.4443000000000001</c:v>
                </c:pt>
                <c:pt idx="6">
                  <c:v>2.6857000000000002</c:v>
                </c:pt>
                <c:pt idx="7">
                  <c:v>3.0390000000000001</c:v>
                </c:pt>
              </c:numCache>
            </c:numRef>
          </c:xVal>
          <c:yVal>
            <c:numRef>
              <c:f>Sheet1!$B$2:$B$9</c:f>
              <c:numCache>
                <c:formatCode>General</c:formatCode>
                <c:ptCount val="8"/>
                <c:pt idx="0">
                  <c:v>0.85</c:v>
                </c:pt>
                <c:pt idx="1">
                  <c:v>0.92800000000000005</c:v>
                </c:pt>
                <c:pt idx="2">
                  <c:v>1.296</c:v>
                </c:pt>
                <c:pt idx="3">
                  <c:v>1.1819999999999999</c:v>
                </c:pt>
                <c:pt idx="4">
                  <c:v>1.1459999999999999</c:v>
                </c:pt>
                <c:pt idx="5">
                  <c:v>0.97399999999999998</c:v>
                </c:pt>
                <c:pt idx="6">
                  <c:v>1.5580000000000001</c:v>
                </c:pt>
                <c:pt idx="7">
                  <c:v>1.1499999999999999</c:v>
                </c:pt>
              </c:numCache>
            </c:numRef>
          </c:yVal>
          <c:bubbleSize>
            <c:numRef>
              <c:f>Sheet1!$C$2:$C$9</c:f>
              <c:numCache>
                <c:formatCode>General</c:formatCode>
                <c:ptCount val="8"/>
                <c:pt idx="0">
                  <c:v>160601106</c:v>
                </c:pt>
                <c:pt idx="1">
                  <c:v>25846068</c:v>
                </c:pt>
                <c:pt idx="2">
                  <c:v>14772179</c:v>
                </c:pt>
                <c:pt idx="3">
                  <c:v>13917161</c:v>
                </c:pt>
                <c:pt idx="4">
                  <c:v>9429711</c:v>
                </c:pt>
                <c:pt idx="5">
                  <c:v>5658645</c:v>
                </c:pt>
                <c:pt idx="6">
                  <c:v>5592599</c:v>
                </c:pt>
                <c:pt idx="7">
                  <c:v>4747021</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Entremont</c:v>
                  </c:pt>
                  <c:pt idx="3">
                    <c:v>Galbani</c:v>
                  </c:pt>
                  <c:pt idx="4">
                    <c:v>St Moret</c:v>
                  </c:pt>
                  <c:pt idx="5">
                    <c:v>La Vache Qui Rit</c:v>
                  </c:pt>
                  <c:pt idx="6">
                    <c:v>Boursin</c:v>
                  </c:pt>
                  <c:pt idx="7">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5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DFE533-8A62-4063-909A-75C3ED48D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5F83E3-81BB-4E33-9D6A-27F22D2BB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0C925E-1481-409F-ACE3-A188827CA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28BDD3-6CB6-4FA5-89C0-BB13E376E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528656F-8CEA-477D-B217-8077EF0E69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8240C0-54F8-4DC7-8959-32BFA285E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753DF01-2142-4664-8FD4-F05B93BC4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614702F-75F4-4991-842A-2EAA924D6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327000000000002</c:v>
                </c:pt>
                <c:pt idx="1">
                  <c:v>2.2883</c:v>
                </c:pt>
                <c:pt idx="2">
                  <c:v>2.3494999999999999</c:v>
                </c:pt>
                <c:pt idx="3">
                  <c:v>2.9119999999999999</c:v>
                </c:pt>
                <c:pt idx="4">
                  <c:v>2.7605</c:v>
                </c:pt>
                <c:pt idx="5">
                  <c:v>3.2810999999999999</c:v>
                </c:pt>
                <c:pt idx="6">
                  <c:v>2.9582999999999999</c:v>
                </c:pt>
                <c:pt idx="7">
                  <c:v>2.3877000000000002</c:v>
                </c:pt>
              </c:numCache>
            </c:numRef>
          </c:xVal>
          <c:yVal>
            <c:numRef>
              <c:f>Sheet1!$B$2:$B$9</c:f>
              <c:numCache>
                <c:formatCode>General</c:formatCode>
                <c:ptCount val="8"/>
                <c:pt idx="0">
                  <c:v>0.85599999999999998</c:v>
                </c:pt>
                <c:pt idx="1">
                  <c:v>0.79900000000000004</c:v>
                </c:pt>
                <c:pt idx="2">
                  <c:v>1.1379999999999999</c:v>
                </c:pt>
                <c:pt idx="3">
                  <c:v>1.0940000000000001</c:v>
                </c:pt>
                <c:pt idx="4">
                  <c:v>1.0580000000000001</c:v>
                </c:pt>
                <c:pt idx="5">
                  <c:v>0.91600000000000004</c:v>
                </c:pt>
                <c:pt idx="6">
                  <c:v>1.1299999999999999</c:v>
                </c:pt>
                <c:pt idx="7">
                  <c:v>1.371</c:v>
                </c:pt>
              </c:numCache>
            </c:numRef>
          </c:yVal>
          <c:bubbleSize>
            <c:numRef>
              <c:f>Sheet1!$C$2:$C$9</c:f>
              <c:numCache>
                <c:formatCode>General</c:formatCode>
                <c:ptCount val="8"/>
                <c:pt idx="0">
                  <c:v>519196378</c:v>
                </c:pt>
                <c:pt idx="1">
                  <c:v>58759599</c:v>
                </c:pt>
                <c:pt idx="2">
                  <c:v>58401688</c:v>
                </c:pt>
                <c:pt idx="3">
                  <c:v>51751764</c:v>
                </c:pt>
                <c:pt idx="4">
                  <c:v>48675142</c:v>
                </c:pt>
                <c:pt idx="5">
                  <c:v>35786138</c:v>
                </c:pt>
                <c:pt idx="6">
                  <c:v>29293535</c:v>
                </c:pt>
                <c:pt idx="7">
                  <c:v>21016295</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Galbani</c:v>
                  </c:pt>
                  <c:pt idx="3">
                    <c:v>St Moret</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0045EB-CDAB-4AA9-B18B-96BA9DAEE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899693-8BC0-43F1-9B4F-9E07820CB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DE335A-F196-4A47-A632-E541AD25E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B6C0AE-5A44-473A-91DB-3219E8D40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FF10EC5-90B3-4DD0-A504-E07CD9913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14D0A7-B615-4AFE-A226-4CFFACD96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1E00E43-4F91-4846-92DE-C4BF1155C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B1C60F1-32D3-4B03-827E-26FD6A32BD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53999999999998</c:v>
                </c:pt>
                <c:pt idx="1">
                  <c:v>2.4110999999999998</c:v>
                </c:pt>
                <c:pt idx="2">
                  <c:v>3.0028999999999999</c:v>
                </c:pt>
                <c:pt idx="3">
                  <c:v>2.3096999999999999</c:v>
                </c:pt>
                <c:pt idx="4">
                  <c:v>2.8786</c:v>
                </c:pt>
                <c:pt idx="5">
                  <c:v>3.2258</c:v>
                </c:pt>
                <c:pt idx="6">
                  <c:v>2.9295</c:v>
                </c:pt>
                <c:pt idx="7">
                  <c:v>2.3601000000000001</c:v>
                </c:pt>
              </c:numCache>
            </c:numRef>
          </c:xVal>
          <c:yVal>
            <c:numRef>
              <c:f>Sheet1!$B$2:$B$9</c:f>
              <c:numCache>
                <c:formatCode>General</c:formatCode>
                <c:ptCount val="8"/>
                <c:pt idx="0">
                  <c:v>0.88300000000000001</c:v>
                </c:pt>
                <c:pt idx="1">
                  <c:v>0.76100000000000001</c:v>
                </c:pt>
                <c:pt idx="2">
                  <c:v>1.079</c:v>
                </c:pt>
                <c:pt idx="3">
                  <c:v>1.073</c:v>
                </c:pt>
                <c:pt idx="4">
                  <c:v>1.0229999999999999</c:v>
                </c:pt>
                <c:pt idx="5">
                  <c:v>0.82099999999999995</c:v>
                </c:pt>
                <c:pt idx="6">
                  <c:v>1.0029999999999999</c:v>
                </c:pt>
                <c:pt idx="7">
                  <c:v>1.3089999999999999</c:v>
                </c:pt>
              </c:numCache>
            </c:numRef>
          </c:yVal>
          <c:bubbleSize>
            <c:numRef>
              <c:f>Sheet1!$C$2:$C$9</c:f>
              <c:numCache>
                <c:formatCode>General</c:formatCode>
                <c:ptCount val="8"/>
                <c:pt idx="0">
                  <c:v>77897599</c:v>
                </c:pt>
                <c:pt idx="1">
                  <c:v>9302551</c:v>
                </c:pt>
                <c:pt idx="2">
                  <c:v>8811592</c:v>
                </c:pt>
                <c:pt idx="3">
                  <c:v>8667367</c:v>
                </c:pt>
                <c:pt idx="4">
                  <c:v>8594536</c:v>
                </c:pt>
                <c:pt idx="5">
                  <c:v>6741136</c:v>
                </c:pt>
                <c:pt idx="6">
                  <c:v>5831683</c:v>
                </c:pt>
                <c:pt idx="7">
                  <c:v>432524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t Moret</c:v>
                  </c:pt>
                  <c:pt idx="3">
                    <c:v>Galbani</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6E1D15-4118-404E-A97E-B3BFF0DA5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F9B7EA-9293-42D9-8646-5D26C4E0B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FDEA2C-C9B9-48C8-8053-9287472FE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86483AA-333B-4DAD-98CA-26572E841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A50094-5692-4EB3-BC41-DEA98F3CD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45046C-766B-435C-A460-19D1A1071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372B6EE-A1C2-4287-8689-EC8CA7B9E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1D5B3E-921E-4ECC-BF80-FAA9F57D6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131000000000001</c:v>
                </c:pt>
                <c:pt idx="1">
                  <c:v>2.4689000000000001</c:v>
                </c:pt>
                <c:pt idx="2">
                  <c:v>2.3700999999999999</c:v>
                </c:pt>
                <c:pt idx="3">
                  <c:v>2.9885999999999999</c:v>
                </c:pt>
                <c:pt idx="4">
                  <c:v>2.7917999999999998</c:v>
                </c:pt>
                <c:pt idx="5">
                  <c:v>3.4443000000000001</c:v>
                </c:pt>
                <c:pt idx="6">
                  <c:v>3.0390000000000001</c:v>
                </c:pt>
                <c:pt idx="7">
                  <c:v>2.5135000000000001</c:v>
                </c:pt>
              </c:numCache>
            </c:numRef>
          </c:xVal>
          <c:yVal>
            <c:numRef>
              <c:f>Sheet1!$B$2:$B$9</c:f>
              <c:numCache>
                <c:formatCode>General</c:formatCode>
                <c:ptCount val="8"/>
                <c:pt idx="0">
                  <c:v>0.84599999999999997</c:v>
                </c:pt>
                <c:pt idx="1">
                  <c:v>1.169</c:v>
                </c:pt>
                <c:pt idx="2">
                  <c:v>0.81699999999999995</c:v>
                </c:pt>
                <c:pt idx="3">
                  <c:v>1.0940000000000001</c:v>
                </c:pt>
                <c:pt idx="4">
                  <c:v>1.0469999999999999</c:v>
                </c:pt>
                <c:pt idx="5">
                  <c:v>0.97399999999999998</c:v>
                </c:pt>
                <c:pt idx="6">
                  <c:v>1.1499999999999999</c:v>
                </c:pt>
                <c:pt idx="7">
                  <c:v>1.4</c:v>
                </c:pt>
              </c:numCache>
            </c:numRef>
          </c:yVal>
          <c:bubbleSize>
            <c:numRef>
              <c:f>Sheet1!$C$2:$C$9</c:f>
              <c:numCache>
                <c:formatCode>General</c:formatCode>
                <c:ptCount val="8"/>
                <c:pt idx="0">
                  <c:v>58897416</c:v>
                </c:pt>
                <c:pt idx="1">
                  <c:v>11602323</c:v>
                </c:pt>
                <c:pt idx="2">
                  <c:v>9875140</c:v>
                </c:pt>
                <c:pt idx="3">
                  <c:v>8620814</c:v>
                </c:pt>
                <c:pt idx="4">
                  <c:v>8261704</c:v>
                </c:pt>
                <c:pt idx="5">
                  <c:v>5658598</c:v>
                </c:pt>
                <c:pt idx="6">
                  <c:v>4747021</c:v>
                </c:pt>
                <c:pt idx="7">
                  <c:v>424095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President</c:v>
                  </c:pt>
                  <c:pt idx="3">
                    <c:v>St Moret</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9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930938-C0BD-4882-A0BD-2D75E9C2E0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C9B66A0-C687-4EC8-B28C-6BF1371CA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CA5347-BF20-4CF8-8EF7-730BFBEB0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5AEF31F-302D-4C7F-94B5-6B510F540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191A39B-C8A9-47B7-B6D5-333DAC823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BDDF8A2-1806-4118-A1B5-1ED0A2D87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FC828F2-7A46-4AA1-9C27-D6F44921B0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B84FEE0-97A9-49A0-82F1-D714DA92C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7187000000000001</c:v>
                </c:pt>
                <c:pt idx="1">
                  <c:v>2.0144000000000002</c:v>
                </c:pt>
                <c:pt idx="2">
                  <c:v>3.5047999999999999</c:v>
                </c:pt>
                <c:pt idx="3">
                  <c:v>2.8439999999999999</c:v>
                </c:pt>
                <c:pt idx="4">
                  <c:v>2.6423000000000001</c:v>
                </c:pt>
              </c:numCache>
            </c:numRef>
          </c:xVal>
          <c:yVal>
            <c:numRef>
              <c:f>Sheet1!$B$2:$B$6</c:f>
              <c:numCache>
                <c:formatCode>General</c:formatCode>
                <c:ptCount val="5"/>
                <c:pt idx="0">
                  <c:v>0.872</c:v>
                </c:pt>
                <c:pt idx="1">
                  <c:v>1.014</c:v>
                </c:pt>
                <c:pt idx="2">
                  <c:v>1.7649999999999999</c:v>
                </c:pt>
                <c:pt idx="3">
                  <c:v>1.306</c:v>
                </c:pt>
                <c:pt idx="4">
                  <c:v>1.331</c:v>
                </c:pt>
              </c:numCache>
            </c:numRef>
          </c:yVal>
          <c:bubbleSize>
            <c:numRef>
              <c:f>Sheet1!$C$2:$C$6</c:f>
              <c:numCache>
                <c:formatCode>General</c:formatCode>
                <c:ptCount val="5"/>
                <c:pt idx="0">
                  <c:v>32111482</c:v>
                </c:pt>
                <c:pt idx="1">
                  <c:v>8926552</c:v>
                </c:pt>
                <c:pt idx="2">
                  <c:v>4826639</c:v>
                </c:pt>
                <c:pt idx="3">
                  <c:v>3695927</c:v>
                </c:pt>
                <c:pt idx="4">
                  <c:v>2844424</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DCB897-3378-4394-A2BA-38EC13DA7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7D68EC7-2E40-4119-AAC8-F66F5B165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842CF3-9597-40C8-86BF-91113C9BB1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DB4799-BC96-49E9-905B-18F2E3CF0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394E02-BE9A-44D2-8771-3EBF77899D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3565EE6-A72A-4182-A8D5-B034007007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17B9523-0E82-46EE-A151-02351C674A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E4B837F-E152-45A3-8F0B-47C2257E9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8580999999999999</c:v>
                </c:pt>
                <c:pt idx="1">
                  <c:v>2.1343000000000001</c:v>
                </c:pt>
                <c:pt idx="2">
                  <c:v>3.4523000000000001</c:v>
                </c:pt>
                <c:pt idx="3">
                  <c:v>3.1278999999999999</c:v>
                </c:pt>
                <c:pt idx="4">
                  <c:v>2.6861999999999999</c:v>
                </c:pt>
                <c:pt idx="5">
                  <c:v>5.2592999999999996</c:v>
                </c:pt>
                <c:pt idx="6">
                  <c:v>1.8669</c:v>
                </c:pt>
              </c:numCache>
            </c:numRef>
          </c:xVal>
          <c:yVal>
            <c:numRef>
              <c:f>Sheet1!$B$2:$B$8</c:f>
              <c:numCache>
                <c:formatCode>General</c:formatCode>
                <c:ptCount val="7"/>
                <c:pt idx="0">
                  <c:v>0.871</c:v>
                </c:pt>
                <c:pt idx="1">
                  <c:v>1.0189999999999999</c:v>
                </c:pt>
                <c:pt idx="2">
                  <c:v>1.6479999999999999</c:v>
                </c:pt>
                <c:pt idx="3">
                  <c:v>1.492</c:v>
                </c:pt>
                <c:pt idx="4">
                  <c:v>1.2849999999999999</c:v>
                </c:pt>
                <c:pt idx="5">
                  <c:v>1.585</c:v>
                </c:pt>
                <c:pt idx="6">
                  <c:v>1.9950000000000001</c:v>
                </c:pt>
              </c:numCache>
            </c:numRef>
          </c:yVal>
          <c:bubbleSize>
            <c:numRef>
              <c:f>Sheet1!$C$2:$C$8</c:f>
              <c:numCache>
                <c:formatCode>General</c:formatCode>
                <c:ptCount val="7"/>
                <c:pt idx="0">
                  <c:v>6113168</c:v>
                </c:pt>
                <c:pt idx="1">
                  <c:v>1692864</c:v>
                </c:pt>
                <c:pt idx="2">
                  <c:v>1030688</c:v>
                </c:pt>
                <c:pt idx="3">
                  <c:v>505315</c:v>
                </c:pt>
                <c:pt idx="4">
                  <c:v>349471</c:v>
                </c:pt>
                <c:pt idx="5">
                  <c:v>128289</c:v>
                </c:pt>
                <c:pt idx="6">
                  <c:v>121788</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pt idx="6">
                    <c:v>Leerdamm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95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577B5B9-B4CC-471D-8CC0-CDD2AD1AF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8CF61C-EC32-4F9A-A7B7-1B3F6FCD5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54CDFF-F1EC-49F4-AB2F-3859D7666E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6C87CC7-89FD-460C-A850-746CAE3AC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BDC8ABD-355D-4350-B9CC-591EB837F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5FF472A-00D3-445E-A909-8C96FF986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F985E41-1729-4399-9627-726E87D1CE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23567B7-0CC7-4560-9AD0-A1711DFD7A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9350000000000001</c:v>
                </c:pt>
                <c:pt idx="1">
                  <c:v>2.1753</c:v>
                </c:pt>
                <c:pt idx="2">
                  <c:v>3.5583</c:v>
                </c:pt>
                <c:pt idx="3">
                  <c:v>2.6888000000000001</c:v>
                </c:pt>
                <c:pt idx="4">
                  <c:v>2.6114000000000002</c:v>
                </c:pt>
              </c:numCache>
            </c:numRef>
          </c:xVal>
          <c:yVal>
            <c:numRef>
              <c:f>Sheet1!$B$2:$B$6</c:f>
              <c:numCache>
                <c:formatCode>General</c:formatCode>
                <c:ptCount val="5"/>
                <c:pt idx="0">
                  <c:v>0.88</c:v>
                </c:pt>
                <c:pt idx="1">
                  <c:v>1.0760000000000001</c:v>
                </c:pt>
                <c:pt idx="2">
                  <c:v>1.7609999999999999</c:v>
                </c:pt>
                <c:pt idx="3">
                  <c:v>1.331</c:v>
                </c:pt>
                <c:pt idx="4">
                  <c:v>0.97599999999999998</c:v>
                </c:pt>
              </c:numCache>
            </c:numRef>
          </c:yVal>
          <c:bubbleSize>
            <c:numRef>
              <c:f>Sheet1!$C$2:$C$6</c:f>
              <c:numCache>
                <c:formatCode>General</c:formatCode>
                <c:ptCount val="5"/>
                <c:pt idx="0">
                  <c:v>5772129</c:v>
                </c:pt>
                <c:pt idx="1">
                  <c:v>1439845</c:v>
                </c:pt>
                <c:pt idx="2">
                  <c:v>1178065</c:v>
                </c:pt>
                <c:pt idx="3">
                  <c:v>808897</c:v>
                </c:pt>
                <c:pt idx="4">
                  <c:v>736159</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St Moret</c:v>
                  </c:pt>
                  <c:pt idx="4">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0E69BA-4690-4DC2-8F90-8BAA7CCCB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FEA2478-336A-437C-8061-9A2D2260E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E385C1-8086-46A4-BF84-B34968745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9F9462-095F-4477-89C1-00CE4B864A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9C21FD2-D71E-44BC-8D3F-2D6270C43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26E3C5E-BE74-48C4-843D-07D3649F23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AF78A5A-4B3E-4569-9831-E40F2F4AA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3CA538E-F20E-4D2A-A917-8423348B9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044999999999999</c:v>
                </c:pt>
                <c:pt idx="1">
                  <c:v>2.6366000000000001</c:v>
                </c:pt>
                <c:pt idx="2">
                  <c:v>3.2170999999999998</c:v>
                </c:pt>
                <c:pt idx="3">
                  <c:v>2.5398000000000001</c:v>
                </c:pt>
                <c:pt idx="4">
                  <c:v>2.9603000000000002</c:v>
                </c:pt>
                <c:pt idx="5">
                  <c:v>3.4443000000000001</c:v>
                </c:pt>
                <c:pt idx="6">
                  <c:v>2.6857000000000002</c:v>
                </c:pt>
                <c:pt idx="7">
                  <c:v>3.0390000000000001</c:v>
                </c:pt>
              </c:numCache>
            </c:numRef>
          </c:xVal>
          <c:yVal>
            <c:numRef>
              <c:f>Sheet1!$B$2:$B$9</c:f>
              <c:numCache>
                <c:formatCode>General</c:formatCode>
                <c:ptCount val="8"/>
                <c:pt idx="0">
                  <c:v>0.85</c:v>
                </c:pt>
                <c:pt idx="1">
                  <c:v>0.92800000000000005</c:v>
                </c:pt>
                <c:pt idx="2">
                  <c:v>1.296</c:v>
                </c:pt>
                <c:pt idx="3">
                  <c:v>1.1819999999999999</c:v>
                </c:pt>
                <c:pt idx="4">
                  <c:v>1.1459999999999999</c:v>
                </c:pt>
                <c:pt idx="5">
                  <c:v>0.97399999999999998</c:v>
                </c:pt>
                <c:pt idx="6">
                  <c:v>1.5580000000000001</c:v>
                </c:pt>
                <c:pt idx="7">
                  <c:v>1.1499999999999999</c:v>
                </c:pt>
              </c:numCache>
            </c:numRef>
          </c:yVal>
          <c:bubbleSize>
            <c:numRef>
              <c:f>Sheet1!$C$2:$C$9</c:f>
              <c:numCache>
                <c:formatCode>General</c:formatCode>
                <c:ptCount val="8"/>
                <c:pt idx="0">
                  <c:v>160601106</c:v>
                </c:pt>
                <c:pt idx="1">
                  <c:v>25846068</c:v>
                </c:pt>
                <c:pt idx="2">
                  <c:v>14772179</c:v>
                </c:pt>
                <c:pt idx="3">
                  <c:v>13917161</c:v>
                </c:pt>
                <c:pt idx="4">
                  <c:v>9429711</c:v>
                </c:pt>
                <c:pt idx="5">
                  <c:v>5658645</c:v>
                </c:pt>
                <c:pt idx="6">
                  <c:v>5592599</c:v>
                </c:pt>
                <c:pt idx="7">
                  <c:v>4747021</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Entremont</c:v>
                  </c:pt>
                  <c:pt idx="3">
                    <c:v>Galbani</c:v>
                  </c:pt>
                  <c:pt idx="4">
                    <c:v>St Moret</c:v>
                  </c:pt>
                  <c:pt idx="5">
                    <c:v>La Vache Qui Rit</c:v>
                  </c:pt>
                  <c:pt idx="6">
                    <c:v>Boursin</c:v>
                  </c:pt>
                  <c:pt idx="7">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8CE270-268C-42C2-9267-CF39142CF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3D5EDDA-AD50-476F-AC0D-0E08B1519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2FCA5F-228E-45CC-AAD7-E37D1DE85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4B2515-6B9D-4D2B-8C50-57519DF93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C92A05-4559-4F12-AD2F-F75B872C0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88C377-4051-46A6-B9F5-2F3A0A619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4B4931F-C47F-4B6B-9BF7-1AE83BA6C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8CAC6B9-FCDA-4DDC-800F-84D9CA93E2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5875999999999999</c:v>
                </c:pt>
                <c:pt idx="1">
                  <c:v>2.0409000000000002</c:v>
                </c:pt>
                <c:pt idx="2">
                  <c:v>4.2450000000000001</c:v>
                </c:pt>
                <c:pt idx="3">
                  <c:v>3.7193999999999998</c:v>
                </c:pt>
                <c:pt idx="4">
                  <c:v>2.7090000000000001</c:v>
                </c:pt>
                <c:pt idx="5">
                  <c:v>1.2703</c:v>
                </c:pt>
              </c:numCache>
            </c:numRef>
          </c:xVal>
          <c:yVal>
            <c:numRef>
              <c:f>Sheet1!$B$2:$B$7</c:f>
              <c:numCache>
                <c:formatCode>General</c:formatCode>
                <c:ptCount val="6"/>
                <c:pt idx="0">
                  <c:v>0.84099999999999997</c:v>
                </c:pt>
                <c:pt idx="1">
                  <c:v>1.101</c:v>
                </c:pt>
                <c:pt idx="2">
                  <c:v>1.589</c:v>
                </c:pt>
                <c:pt idx="3">
                  <c:v>1.4470000000000001</c:v>
                </c:pt>
                <c:pt idx="4">
                  <c:v>1.462</c:v>
                </c:pt>
                <c:pt idx="5">
                  <c:v>0.86899999999999999</c:v>
                </c:pt>
              </c:numCache>
            </c:numRef>
          </c:yVal>
          <c:bubbleSize>
            <c:numRef>
              <c:f>Sheet1!$C$2:$C$7</c:f>
              <c:numCache>
                <c:formatCode>General</c:formatCode>
                <c:ptCount val="6"/>
                <c:pt idx="0">
                  <c:v>3832147</c:v>
                </c:pt>
                <c:pt idx="1">
                  <c:v>2828625</c:v>
                </c:pt>
                <c:pt idx="2">
                  <c:v>442886</c:v>
                </c:pt>
                <c:pt idx="3">
                  <c:v>266365</c:v>
                </c:pt>
                <c:pt idx="4">
                  <c:v>173582</c:v>
                </c:pt>
                <c:pt idx="5">
                  <c:v>47</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Raguin</c:v>
                  </c:pt>
                  <c:pt idx="4">
                    <c:v>Boursin</c:v>
                  </c:pt>
                  <c:pt idx="5">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8E5393-85DC-4AD9-A172-17B145F4D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B9802F-528E-4BBE-AC7D-72E2B68564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43159CB-B2DD-4786-8EE5-49C9703420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494B0C-B6D0-4F69-AA15-3AEE33023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09314CE-5E6C-4173-B16C-81A611E70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ACD48F-5AEB-4D9A-AE9E-4C41C5B1C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1E291EB-ABC0-4D79-8F4C-41FFC8A869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B49B69C-A8D3-4B07-8346-B302D3483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5875999999999999</c:v>
                </c:pt>
                <c:pt idx="1">
                  <c:v>2.0409000000000002</c:v>
                </c:pt>
                <c:pt idx="2">
                  <c:v>4.2469999999999999</c:v>
                </c:pt>
                <c:pt idx="3">
                  <c:v>3.7195999999999998</c:v>
                </c:pt>
                <c:pt idx="4">
                  <c:v>2.7090000000000001</c:v>
                </c:pt>
                <c:pt idx="5">
                  <c:v>1.2703</c:v>
                </c:pt>
              </c:numCache>
            </c:numRef>
          </c:xVal>
          <c:yVal>
            <c:numRef>
              <c:f>Sheet1!$B$2:$B$7</c:f>
              <c:numCache>
                <c:formatCode>General</c:formatCode>
                <c:ptCount val="6"/>
                <c:pt idx="0">
                  <c:v>0.84099999999999997</c:v>
                </c:pt>
                <c:pt idx="1">
                  <c:v>1.101</c:v>
                </c:pt>
                <c:pt idx="2">
                  <c:v>1.595</c:v>
                </c:pt>
                <c:pt idx="3">
                  <c:v>1.454</c:v>
                </c:pt>
                <c:pt idx="4">
                  <c:v>1.4630000000000001</c:v>
                </c:pt>
                <c:pt idx="5">
                  <c:v>0.86899999999999999</c:v>
                </c:pt>
              </c:numCache>
            </c:numRef>
          </c:yVal>
          <c:bubbleSize>
            <c:numRef>
              <c:f>Sheet1!$C$2:$C$7</c:f>
              <c:numCache>
                <c:formatCode>General</c:formatCode>
                <c:ptCount val="6"/>
                <c:pt idx="0">
                  <c:v>3832081</c:v>
                </c:pt>
                <c:pt idx="1">
                  <c:v>2828611</c:v>
                </c:pt>
                <c:pt idx="2">
                  <c:v>442466</c:v>
                </c:pt>
                <c:pt idx="3">
                  <c:v>265726</c:v>
                </c:pt>
                <c:pt idx="4">
                  <c:v>173579</c:v>
                </c:pt>
                <c:pt idx="5">
                  <c:v>47</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Raguin</c:v>
                  </c:pt>
                  <c:pt idx="4">
                    <c:v>Boursin</c:v>
                  </c:pt>
                  <c:pt idx="5">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9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5FCE57-ABC0-4544-AF12-4813A8718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CFA30D-B1CF-4348-B35A-A40A3A17E6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6178E1-9B15-447E-9248-0A28AE3BCF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E8A912-8A79-43DD-A576-AAE090591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02CD79-8508-446C-AC3E-B9C8174A5C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2EF004-F83F-4D7B-8241-8245D55E7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1B19800-E4FB-4310-8301-81BC371B2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1555A1E-A97C-4CC6-BF17-56231C3F0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5445000000000002</c:v>
                </c:pt>
                <c:pt idx="1">
                  <c:v>3.2810999999999999</c:v>
                </c:pt>
                <c:pt idx="2">
                  <c:v>2.9834999999999998</c:v>
                </c:pt>
                <c:pt idx="3">
                  <c:v>2.2189999999999999</c:v>
                </c:pt>
                <c:pt idx="4">
                  <c:v>2.7052999999999998</c:v>
                </c:pt>
                <c:pt idx="5">
                  <c:v>3.2698999999999998</c:v>
                </c:pt>
              </c:numCache>
            </c:numRef>
          </c:xVal>
          <c:yVal>
            <c:numRef>
              <c:f>Sheet1!$B$2:$B$7</c:f>
              <c:numCache>
                <c:formatCode>General</c:formatCode>
                <c:ptCount val="6"/>
                <c:pt idx="0">
                  <c:v>1.419</c:v>
                </c:pt>
                <c:pt idx="1">
                  <c:v>0.873</c:v>
                </c:pt>
                <c:pt idx="2">
                  <c:v>1.0669999999999999</c:v>
                </c:pt>
                <c:pt idx="3">
                  <c:v>0.624</c:v>
                </c:pt>
                <c:pt idx="4">
                  <c:v>1.8620000000000001</c:v>
                </c:pt>
                <c:pt idx="5">
                  <c:v>1.425</c:v>
                </c:pt>
              </c:numCache>
            </c:numRef>
          </c:yVal>
          <c:bubbleSize>
            <c:numRef>
              <c:f>Sheet1!$C$2:$C$7</c:f>
              <c:numCache>
                <c:formatCode>General</c:formatCode>
                <c:ptCount val="6"/>
                <c:pt idx="0">
                  <c:v>36162450</c:v>
                </c:pt>
                <c:pt idx="1">
                  <c:v>35786112</c:v>
                </c:pt>
                <c:pt idx="2">
                  <c:v>28035107</c:v>
                </c:pt>
                <c:pt idx="3">
                  <c:v>22083602</c:v>
                </c:pt>
                <c:pt idx="4">
                  <c:v>11823541</c:v>
                </c:pt>
                <c:pt idx="5">
                  <c:v>2634301</c:v>
                </c:pt>
              </c:numCache>
            </c:numRef>
          </c:bubbleSize>
          <c:bubble3D val="0"/>
          <c:extLst>
            <c:ext xmlns:c15="http://schemas.microsoft.com/office/drawing/2012/chart" uri="{02D57815-91ED-43cb-92C2-25804820EDAC}">
              <c15:datalabelsRange>
                <c15:f>Sheet1!$E$2:$E$10</c15:f>
                <c15:dlblRangeCache>
                  <c:ptCount val="9"/>
                  <c:pt idx="0">
                    <c:v>Mini Babybel</c:v>
                  </c:pt>
                  <c:pt idx="1">
                    <c:v>La Vache Qui Rit</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25BFC4-378B-4634-BF35-93393F254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3356C39-985A-4C86-90FF-CF6D0D8F9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596591B-81CC-4762-BBCC-00433ECEF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5FF2A6-ED8E-41D8-8F4C-B51A29181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01E3E7-3513-45D5-B64D-F9362520F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96BA74-BCB6-467F-BBA1-FF494548E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44FC456-F7DB-4FB5-8B0D-EC7871749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056CD4E-2AF4-4952-949A-1F30CCE9B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258</c:v>
                </c:pt>
                <c:pt idx="1">
                  <c:v>3.7176999999999998</c:v>
                </c:pt>
                <c:pt idx="2">
                  <c:v>2.9481000000000002</c:v>
                </c:pt>
                <c:pt idx="3">
                  <c:v>2.2936000000000001</c:v>
                </c:pt>
                <c:pt idx="4">
                  <c:v>2.7347999999999999</c:v>
                </c:pt>
                <c:pt idx="5">
                  <c:v>3.0028000000000001</c:v>
                </c:pt>
              </c:numCache>
            </c:numRef>
          </c:xVal>
          <c:yVal>
            <c:numRef>
              <c:f>Sheet1!$B$2:$B$7</c:f>
              <c:numCache>
                <c:formatCode>General</c:formatCode>
                <c:ptCount val="6"/>
                <c:pt idx="0">
                  <c:v>0.81299999999999994</c:v>
                </c:pt>
                <c:pt idx="1">
                  <c:v>1.339</c:v>
                </c:pt>
                <c:pt idx="2">
                  <c:v>0.98</c:v>
                </c:pt>
                <c:pt idx="3">
                  <c:v>0.67</c:v>
                </c:pt>
                <c:pt idx="4">
                  <c:v>1.853</c:v>
                </c:pt>
                <c:pt idx="5">
                  <c:v>1.5209999999999999</c:v>
                </c:pt>
              </c:numCache>
            </c:numRef>
          </c:yVal>
          <c:bubbleSize>
            <c:numRef>
              <c:f>Sheet1!$C$2:$C$7</c:f>
              <c:numCache>
                <c:formatCode>General</c:formatCode>
                <c:ptCount val="6"/>
                <c:pt idx="0">
                  <c:v>6741110</c:v>
                </c:pt>
                <c:pt idx="1">
                  <c:v>6669457</c:v>
                </c:pt>
                <c:pt idx="2">
                  <c:v>5524817</c:v>
                </c:pt>
                <c:pt idx="3">
                  <c:v>2504979</c:v>
                </c:pt>
                <c:pt idx="4">
                  <c:v>2314948</c:v>
                </c:pt>
                <c:pt idx="5">
                  <c:v>426610</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BBD7AE-1E3D-42AD-BBEC-4A89C0F51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B86AA0-3A42-4126-929E-9867F6D81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18720B7-34C9-48DB-B451-B9E1F4A1F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EF1D084-2E64-49F9-AA64-9CAAADBFD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2065452-059C-4B49-9DCA-9D2F71993F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55D5409-4FE5-4AAD-9CF0-AA192C74F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66B16BF-0263-4521-8709-8621873BA0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139A54D-831E-4BAB-87FD-94EAD6A1F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4443000000000001</c:v>
                </c:pt>
                <c:pt idx="1">
                  <c:v>3.3622999999999998</c:v>
                </c:pt>
                <c:pt idx="2">
                  <c:v>3.0697000000000001</c:v>
                </c:pt>
                <c:pt idx="3">
                  <c:v>2.0539000000000001</c:v>
                </c:pt>
                <c:pt idx="4">
                  <c:v>2.6819999999999999</c:v>
                </c:pt>
                <c:pt idx="5">
                  <c:v>3.7010999999999998</c:v>
                </c:pt>
              </c:numCache>
            </c:numRef>
          </c:xVal>
          <c:yVal>
            <c:numRef>
              <c:f>Sheet1!$B$2:$B$7</c:f>
              <c:numCache>
                <c:formatCode>General</c:formatCode>
                <c:ptCount val="6"/>
                <c:pt idx="0">
                  <c:v>0.88</c:v>
                </c:pt>
                <c:pt idx="1">
                  <c:v>1.3660000000000001</c:v>
                </c:pt>
                <c:pt idx="2">
                  <c:v>1.0269999999999999</c:v>
                </c:pt>
                <c:pt idx="3">
                  <c:v>0.629</c:v>
                </c:pt>
                <c:pt idx="4">
                  <c:v>1.804</c:v>
                </c:pt>
                <c:pt idx="5">
                  <c:v>1.266</c:v>
                </c:pt>
              </c:numCache>
            </c:numRef>
          </c:yVal>
          <c:bubbleSize>
            <c:numRef>
              <c:f>Sheet1!$C$2:$C$7</c:f>
              <c:numCache>
                <c:formatCode>General</c:formatCode>
                <c:ptCount val="6"/>
                <c:pt idx="0">
                  <c:v>5658598</c:v>
                </c:pt>
                <c:pt idx="1">
                  <c:v>4713246</c:v>
                </c:pt>
                <c:pt idx="2">
                  <c:v>4572915</c:v>
                </c:pt>
                <c:pt idx="3">
                  <c:v>2456999</c:v>
                </c:pt>
                <c:pt idx="4">
                  <c:v>1686737</c:v>
                </c:pt>
                <c:pt idx="5">
                  <c:v>437701</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609217-3A2E-4052-8B8C-065EF13A2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1A0001-DA08-46B1-81B9-427339DE48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2A08263-0E6E-4CF6-BD84-7D5EDB000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048302A-6837-4F3E-A1AC-FCA66FBBD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8AB9D1-4C48-40F3-B370-27C3F5799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A11B66-FF84-4224-9EE9-39B1AF846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BC8F402-F2A6-4B97-96CE-117879861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F1FB00D-70A8-42AF-B64D-2B55CEE07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119999999999999</c:v>
                </c:pt>
                <c:pt idx="1">
                  <c:v>1.4815</c:v>
                </c:pt>
                <c:pt idx="2">
                  <c:v>2.4422000000000001</c:v>
                </c:pt>
                <c:pt idx="3">
                  <c:v>2.2902</c:v>
                </c:pt>
                <c:pt idx="4">
                  <c:v>2.4300000000000002</c:v>
                </c:pt>
                <c:pt idx="5">
                  <c:v>2.4110999999999998</c:v>
                </c:pt>
                <c:pt idx="6">
                  <c:v>2.4899</c:v>
                </c:pt>
                <c:pt idx="7">
                  <c:v>13</c:v>
                </c:pt>
              </c:numCache>
            </c:numRef>
          </c:xVal>
          <c:yVal>
            <c:numRef>
              <c:f>Sheet1!$B$2:$B$9</c:f>
              <c:numCache>
                <c:formatCode>General</c:formatCode>
                <c:ptCount val="8"/>
                <c:pt idx="0">
                  <c:v>1.1379999999999999</c:v>
                </c:pt>
                <c:pt idx="1">
                  <c:v>0.68100000000000005</c:v>
                </c:pt>
                <c:pt idx="2">
                  <c:v>1.024</c:v>
                </c:pt>
                <c:pt idx="3">
                  <c:v>1.1160000000000001</c:v>
                </c:pt>
                <c:pt idx="4">
                  <c:v>1.3640000000000001</c:v>
                </c:pt>
                <c:pt idx="5">
                  <c:v>1.085</c:v>
                </c:pt>
                <c:pt idx="6">
                  <c:v>1.5089999999999999</c:v>
                </c:pt>
                <c:pt idx="7">
                  <c:v>1.17</c:v>
                </c:pt>
              </c:numCache>
            </c:numRef>
          </c:yVal>
          <c:bubbleSize>
            <c:numRef>
              <c:f>Sheet1!$C$2:$C$9</c:f>
              <c:numCache>
                <c:formatCode>General</c:formatCode>
                <c:ptCount val="8"/>
                <c:pt idx="0">
                  <c:v>51751764</c:v>
                </c:pt>
                <c:pt idx="1">
                  <c:v>33615603</c:v>
                </c:pt>
                <c:pt idx="2">
                  <c:v>26453904</c:v>
                </c:pt>
                <c:pt idx="3">
                  <c:v>18616048</c:v>
                </c:pt>
                <c:pt idx="4">
                  <c:v>16298170</c:v>
                </c:pt>
                <c:pt idx="5">
                  <c:v>11587098</c:v>
                </c:pt>
                <c:pt idx="6">
                  <c:v>1258428</c:v>
                </c:pt>
                <c:pt idx="7">
                  <c:v>26</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0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076B4A-FE7F-46AA-87A0-39BB47903A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0B2647-917F-48E7-B374-182914A7CB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371732-2BBB-4918-ADAC-FB0EB502E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870523F-E3C4-4BD1-B58C-AD4BAABB6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002291-045F-4403-BB1D-53BF541BB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C730CB0-0983-4D33-858E-3BA650883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3A4DFCA-CF7E-47DE-AFB7-B1B643D3A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B44DD68-3368-461E-B3A9-11DE010E1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3.0028999999999999</c:v>
                </c:pt>
                <c:pt idx="1">
                  <c:v>2.4232</c:v>
                </c:pt>
                <c:pt idx="2">
                  <c:v>1.6344000000000001</c:v>
                </c:pt>
                <c:pt idx="3">
                  <c:v>2.3706</c:v>
                </c:pt>
                <c:pt idx="4">
                  <c:v>2.4558</c:v>
                </c:pt>
                <c:pt idx="5">
                  <c:v>2.4186999999999999</c:v>
                </c:pt>
                <c:pt idx="6">
                  <c:v>2.6312000000000002</c:v>
                </c:pt>
                <c:pt idx="7">
                  <c:v>13</c:v>
                </c:pt>
              </c:numCache>
            </c:numRef>
          </c:xVal>
          <c:yVal>
            <c:numRef>
              <c:f>Sheet1!$B$2:$B$9</c:f>
              <c:numCache>
                <c:formatCode>General</c:formatCode>
                <c:ptCount val="8"/>
                <c:pt idx="0">
                  <c:v>1.1180000000000001</c:v>
                </c:pt>
                <c:pt idx="1">
                  <c:v>0.95799999999999996</c:v>
                </c:pt>
                <c:pt idx="2">
                  <c:v>0.69299999999999995</c:v>
                </c:pt>
                <c:pt idx="3">
                  <c:v>1.0740000000000001</c:v>
                </c:pt>
                <c:pt idx="4">
                  <c:v>1.3029999999999999</c:v>
                </c:pt>
                <c:pt idx="5">
                  <c:v>1.006</c:v>
                </c:pt>
                <c:pt idx="6">
                  <c:v>1.4079999999999999</c:v>
                </c:pt>
                <c:pt idx="7">
                  <c:v>1.081</c:v>
                </c:pt>
              </c:numCache>
            </c:numRef>
          </c:yVal>
          <c:bubbleSize>
            <c:numRef>
              <c:f>Sheet1!$C$2:$C$9</c:f>
              <c:numCache>
                <c:formatCode>General</c:formatCode>
                <c:ptCount val="8"/>
                <c:pt idx="0">
                  <c:v>8811592</c:v>
                </c:pt>
                <c:pt idx="1">
                  <c:v>4758479</c:v>
                </c:pt>
                <c:pt idx="2">
                  <c:v>3845963</c:v>
                </c:pt>
                <c:pt idx="3">
                  <c:v>3148857</c:v>
                </c:pt>
                <c:pt idx="4">
                  <c:v>3035900</c:v>
                </c:pt>
                <c:pt idx="5">
                  <c:v>2202030</c:v>
                </c:pt>
                <c:pt idx="6">
                  <c:v>306866</c:v>
                </c:pt>
                <c:pt idx="7">
                  <c:v>26</c:v>
                </c:pt>
              </c:numCache>
            </c:numRef>
          </c:bubbleSize>
          <c:bubble3D val="0"/>
          <c:extLst>
            <c:ext xmlns:c15="http://schemas.microsoft.com/office/drawing/2012/chart" uri="{02D57815-91ED-43cb-92C2-25804820EDAC}">
              <c15:datalabelsRange>
                <c15:f>Sheet1!$E$2:$E$10</c15:f>
                <c15:dlblRangeCache>
                  <c:ptCount val="9"/>
                  <c:pt idx="0">
                    <c:v>St Moret</c:v>
                  </c:pt>
                  <c:pt idx="1">
                    <c:v>Paysan Breton</c:v>
                  </c:pt>
                  <c:pt idx="2">
                    <c:v>Private Label</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BE84A1-8E49-4190-BC1E-3C545D5D7E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03789FF-45CD-4763-921A-64A8AE2A32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39F02A-8BA7-44F8-A9C0-4DE2DECC1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382E82F-D4CB-44EC-8B5E-2E1182CD3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7DBB85-8EA9-4A39-98E3-FEF541EEE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67C175F-D15A-47AC-B3D2-93C6A5580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BA83894-ADB7-4FB4-9079-03A7936F2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63B75D-2E67-4FDF-A666-E8CCF598E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885999999999999</c:v>
                </c:pt>
                <c:pt idx="1">
                  <c:v>1.3731</c:v>
                </c:pt>
                <c:pt idx="2">
                  <c:v>2.4413999999999998</c:v>
                </c:pt>
                <c:pt idx="3">
                  <c:v>2.536</c:v>
                </c:pt>
                <c:pt idx="4">
                  <c:v>2.3258999999999999</c:v>
                </c:pt>
                <c:pt idx="5">
                  <c:v>2.4405000000000001</c:v>
                </c:pt>
                <c:pt idx="6">
                  <c:v>2.4830000000000001</c:v>
                </c:pt>
                <c:pt idx="7">
                  <c:v>2.4062000000000001</c:v>
                </c:pt>
              </c:numCache>
            </c:numRef>
          </c:xVal>
          <c:yVal>
            <c:numRef>
              <c:f>Sheet1!$B$2:$B$9</c:f>
              <c:numCache>
                <c:formatCode>General</c:formatCode>
                <c:ptCount val="8"/>
                <c:pt idx="0">
                  <c:v>1.0760000000000001</c:v>
                </c:pt>
                <c:pt idx="1">
                  <c:v>0.67600000000000005</c:v>
                </c:pt>
                <c:pt idx="2">
                  <c:v>0.96299999999999997</c:v>
                </c:pt>
                <c:pt idx="3">
                  <c:v>1.319</c:v>
                </c:pt>
                <c:pt idx="4">
                  <c:v>1.081</c:v>
                </c:pt>
                <c:pt idx="5">
                  <c:v>1.038</c:v>
                </c:pt>
                <c:pt idx="6">
                  <c:v>0.98599999999999999</c:v>
                </c:pt>
                <c:pt idx="7">
                  <c:v>1.6379999999999999</c:v>
                </c:pt>
              </c:numCache>
            </c:numRef>
          </c:yVal>
          <c:bubbleSize>
            <c:numRef>
              <c:f>Sheet1!$C$2:$C$9</c:f>
              <c:numCache>
                <c:formatCode>General</c:formatCode>
                <c:ptCount val="8"/>
                <c:pt idx="0">
                  <c:v>8620814</c:v>
                </c:pt>
                <c:pt idx="1">
                  <c:v>3677885</c:v>
                </c:pt>
                <c:pt idx="2">
                  <c:v>3671057</c:v>
                </c:pt>
                <c:pt idx="3">
                  <c:v>3468819</c:v>
                </c:pt>
                <c:pt idx="4">
                  <c:v>2960143</c:v>
                </c:pt>
                <c:pt idx="5">
                  <c:v>1853432</c:v>
                </c:pt>
                <c:pt idx="6">
                  <c:v>911380</c:v>
                </c:pt>
                <c:pt idx="7">
                  <c:v>174106</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Boursin</c:v>
                  </c:pt>
                  <c:pt idx="4">
                    <c:v>Tartare</c:v>
                  </c:pt>
                  <c:pt idx="5">
                    <c:v>Carre Frais</c:v>
                  </c:pt>
                  <c:pt idx="6">
                    <c:v>Philadelphia</c:v>
                  </c:pt>
                  <c:pt idx="7">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3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0C8256-54E2-41B1-B848-78000E2A4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CE5AAF-537F-4E9A-9345-2E6BC1562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93CA0A-C2D2-48FB-ABA9-B236617332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0D3162-BCC5-4D30-93AA-76797134BF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C50925-3E0E-463B-BA5B-555E77A84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70A9038-77FF-4072-9D2E-3E223D4A1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90A7DEF-E3DD-42F0-AF1E-FA13AC476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7671D90-821A-4BE4-B076-96D6F1126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581999999999999</c:v>
                </c:pt>
                <c:pt idx="1">
                  <c:v>2.3494999999999999</c:v>
                </c:pt>
                <c:pt idx="2">
                  <c:v>2.4449999999999998</c:v>
                </c:pt>
                <c:pt idx="3">
                  <c:v>2.9683000000000002</c:v>
                </c:pt>
                <c:pt idx="4">
                  <c:v>2.7303999999999999</c:v>
                </c:pt>
                <c:pt idx="5">
                  <c:v>2.2523</c:v>
                </c:pt>
              </c:numCache>
            </c:numRef>
          </c:xVal>
          <c:yVal>
            <c:numRef>
              <c:f>Sheet1!$B$2:$B$7</c:f>
              <c:numCache>
                <c:formatCode>General</c:formatCode>
                <c:ptCount val="6"/>
                <c:pt idx="0">
                  <c:v>0.89300000000000002</c:v>
                </c:pt>
                <c:pt idx="1">
                  <c:v>1.0309999999999999</c:v>
                </c:pt>
                <c:pt idx="2">
                  <c:v>1.1739999999999999</c:v>
                </c:pt>
                <c:pt idx="3">
                  <c:v>1.04</c:v>
                </c:pt>
                <c:pt idx="4">
                  <c:v>1.427</c:v>
                </c:pt>
                <c:pt idx="5">
                  <c:v>1.472</c:v>
                </c:pt>
              </c:numCache>
            </c:numRef>
          </c:yVal>
          <c:bubbleSize>
            <c:numRef>
              <c:f>Sheet1!$C$2:$C$7</c:f>
              <c:numCache>
                <c:formatCode>General</c:formatCode>
                <c:ptCount val="6"/>
                <c:pt idx="0">
                  <c:v>254514232</c:v>
                </c:pt>
                <c:pt idx="1">
                  <c:v>58401643</c:v>
                </c:pt>
                <c:pt idx="2">
                  <c:v>40044170</c:v>
                </c:pt>
                <c:pt idx="3">
                  <c:v>31611113</c:v>
                </c:pt>
                <c:pt idx="4">
                  <c:v>9755821</c:v>
                </c:pt>
                <c:pt idx="5">
                  <c:v>471812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7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76668E-2D3B-42AF-B965-81CD2B8EBB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DD1A28-4D6A-4D67-A1D1-B835096FF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F00146-F024-4B73-8C1F-B59C2FB5C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BBAFC1-C6F6-417D-BD1C-69A1D0B8F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188C421-C7AB-4AEB-A061-78D8075F6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95EB7D-3697-4765-9F9F-EC5F2BF9FB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224B486-30CE-4C41-85A6-DC22B38A8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2B9006F-D8D8-4216-B26D-7DC20E18C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492</c:v>
                </c:pt>
                <c:pt idx="1">
                  <c:v>2.3096999999999999</c:v>
                </c:pt>
                <c:pt idx="2">
                  <c:v>2.6053999999999999</c:v>
                </c:pt>
                <c:pt idx="3">
                  <c:v>3.0032999999999999</c:v>
                </c:pt>
                <c:pt idx="4">
                  <c:v>2.6737000000000002</c:v>
                </c:pt>
                <c:pt idx="5">
                  <c:v>2.1617000000000002</c:v>
                </c:pt>
              </c:numCache>
            </c:numRef>
          </c:xVal>
          <c:yVal>
            <c:numRef>
              <c:f>Sheet1!$B$2:$B$7</c:f>
              <c:numCache>
                <c:formatCode>General</c:formatCode>
                <c:ptCount val="6"/>
                <c:pt idx="0">
                  <c:v>0.89800000000000002</c:v>
                </c:pt>
                <c:pt idx="1">
                  <c:v>0.96599999999999997</c:v>
                </c:pt>
                <c:pt idx="2">
                  <c:v>1.1839999999999999</c:v>
                </c:pt>
                <c:pt idx="3">
                  <c:v>0.96899999999999997</c:v>
                </c:pt>
                <c:pt idx="4">
                  <c:v>1.29</c:v>
                </c:pt>
                <c:pt idx="5">
                  <c:v>1.304</c:v>
                </c:pt>
              </c:numCache>
            </c:numRef>
          </c:yVal>
          <c:bubbleSize>
            <c:numRef>
              <c:f>Sheet1!$C$2:$C$7</c:f>
              <c:numCache>
                <c:formatCode>General</c:formatCode>
                <c:ptCount val="6"/>
                <c:pt idx="0">
                  <c:v>41826347</c:v>
                </c:pt>
                <c:pt idx="1">
                  <c:v>8667322</c:v>
                </c:pt>
                <c:pt idx="2">
                  <c:v>7504143</c:v>
                </c:pt>
                <c:pt idx="3">
                  <c:v>5982438</c:v>
                </c:pt>
                <c:pt idx="4">
                  <c:v>1935509</c:v>
                </c:pt>
                <c:pt idx="5">
                  <c:v>128934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4D763C-BB3A-4DA0-8539-E61407073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8A2083-DF28-40CD-BDB9-2991571E9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569E53-B2BC-43B1-9D2D-06011C962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3E3FB9-AF93-4060-8F8C-03B3D3ECA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97D80F-A874-4E0F-979E-EDC73002B2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AB747AE-7A20-4056-8511-8CBD19C58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D22934-9F29-4E5E-9B2F-627D83FCD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28619B1-54E5-4075-8DA2-67314F518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327000000000002</c:v>
                </c:pt>
                <c:pt idx="1">
                  <c:v>2.2883</c:v>
                </c:pt>
                <c:pt idx="2">
                  <c:v>2.3494999999999999</c:v>
                </c:pt>
                <c:pt idx="3">
                  <c:v>2.9119999999999999</c:v>
                </c:pt>
                <c:pt idx="4">
                  <c:v>2.7605</c:v>
                </c:pt>
                <c:pt idx="5">
                  <c:v>3.2810999999999999</c:v>
                </c:pt>
                <c:pt idx="6">
                  <c:v>2.9582999999999999</c:v>
                </c:pt>
                <c:pt idx="7">
                  <c:v>2.3877000000000002</c:v>
                </c:pt>
              </c:numCache>
            </c:numRef>
          </c:xVal>
          <c:yVal>
            <c:numRef>
              <c:f>Sheet1!$B$2:$B$9</c:f>
              <c:numCache>
                <c:formatCode>General</c:formatCode>
                <c:ptCount val="8"/>
                <c:pt idx="0">
                  <c:v>0.85599999999999998</c:v>
                </c:pt>
                <c:pt idx="1">
                  <c:v>0.79900000000000004</c:v>
                </c:pt>
                <c:pt idx="2">
                  <c:v>1.1379999999999999</c:v>
                </c:pt>
                <c:pt idx="3">
                  <c:v>1.0940000000000001</c:v>
                </c:pt>
                <c:pt idx="4">
                  <c:v>1.0580000000000001</c:v>
                </c:pt>
                <c:pt idx="5">
                  <c:v>0.91600000000000004</c:v>
                </c:pt>
                <c:pt idx="6">
                  <c:v>1.1299999999999999</c:v>
                </c:pt>
                <c:pt idx="7">
                  <c:v>1.371</c:v>
                </c:pt>
              </c:numCache>
            </c:numRef>
          </c:yVal>
          <c:bubbleSize>
            <c:numRef>
              <c:f>Sheet1!$C$2:$C$9</c:f>
              <c:numCache>
                <c:formatCode>General</c:formatCode>
                <c:ptCount val="8"/>
                <c:pt idx="0">
                  <c:v>519196378</c:v>
                </c:pt>
                <c:pt idx="1">
                  <c:v>58759599</c:v>
                </c:pt>
                <c:pt idx="2">
                  <c:v>58401688</c:v>
                </c:pt>
                <c:pt idx="3">
                  <c:v>51751764</c:v>
                </c:pt>
                <c:pt idx="4">
                  <c:v>48675142</c:v>
                </c:pt>
                <c:pt idx="5">
                  <c:v>35786138</c:v>
                </c:pt>
                <c:pt idx="6">
                  <c:v>29293535</c:v>
                </c:pt>
                <c:pt idx="7">
                  <c:v>21016295</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Galbani</c:v>
                  </c:pt>
                  <c:pt idx="3">
                    <c:v>St Moret</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DDBD3A-DFFC-41E5-8D59-A1F23B7A8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83F666-FB0E-4FA1-A134-43F97AD7BD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F3BDEE-14C8-483E-9420-83249F0D94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3026A6-825A-4C7D-8215-80943D36D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CD7A5FF-D2A6-4162-B9C1-F2664A1F4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6708F3-9960-4D00-AE27-7A259FF82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8552F24-3577-40B7-A034-EF39FFDAE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74939D2-3F7E-4B9A-9493-D6C889E0B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205000000000001</c:v>
                </c:pt>
                <c:pt idx="1">
                  <c:v>2.4689000000000001</c:v>
                </c:pt>
                <c:pt idx="2">
                  <c:v>2.9990000000000001</c:v>
                </c:pt>
                <c:pt idx="3">
                  <c:v>2.4729000000000001</c:v>
                </c:pt>
                <c:pt idx="4">
                  <c:v>2.9125000000000001</c:v>
                </c:pt>
                <c:pt idx="5">
                  <c:v>2.4173</c:v>
                </c:pt>
              </c:numCache>
            </c:numRef>
          </c:xVal>
          <c:yVal>
            <c:numRef>
              <c:f>Sheet1!$B$2:$B$7</c:f>
              <c:numCache>
                <c:formatCode>General</c:formatCode>
                <c:ptCount val="6"/>
                <c:pt idx="0">
                  <c:v>0.86799999999999999</c:v>
                </c:pt>
                <c:pt idx="1">
                  <c:v>1.0820000000000001</c:v>
                </c:pt>
                <c:pt idx="2">
                  <c:v>1.048</c:v>
                </c:pt>
                <c:pt idx="3">
                  <c:v>1.2310000000000001</c:v>
                </c:pt>
                <c:pt idx="4">
                  <c:v>1.5529999999999999</c:v>
                </c:pt>
                <c:pt idx="5">
                  <c:v>1.615</c:v>
                </c:pt>
              </c:numCache>
            </c:numRef>
          </c:yVal>
          <c:bubbleSize>
            <c:numRef>
              <c:f>Sheet1!$C$2:$C$7</c:f>
              <c:numCache>
                <c:formatCode>General</c:formatCode>
                <c:ptCount val="6"/>
                <c:pt idx="0">
                  <c:v>28870053</c:v>
                </c:pt>
                <c:pt idx="1">
                  <c:v>11602323</c:v>
                </c:pt>
                <c:pt idx="2">
                  <c:v>5268160</c:v>
                </c:pt>
                <c:pt idx="3">
                  <c:v>3859441</c:v>
                </c:pt>
                <c:pt idx="4">
                  <c:v>1520505</c:v>
                </c:pt>
                <c:pt idx="5">
                  <c:v>772136</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Salakis</c:v>
                  </c:pt>
                  <c:pt idx="3">
                    <c:v>Casa Azzurra</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1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D1C85CA-E4F2-4F5D-BF36-134113CAB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FE1B17-83C9-41DC-9C92-1E396EC0A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C367FC-87A1-4EC3-B5CE-87B296FED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9EA0B12-E559-42A0-81F5-BC23AD7A9D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A8D080-3F80-42D0-8E4F-BA7C83711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F8FF762-5F60-41EC-A483-88F540687B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E5D568-5863-4F7B-B523-6C176EBD6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5EA7B3A-FFE7-41F2-B12D-494542A1D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792999999999999</c:v>
                </c:pt>
                <c:pt idx="1">
                  <c:v>2.7568000000000001</c:v>
                </c:pt>
                <c:pt idx="2">
                  <c:v>2.6282000000000001</c:v>
                </c:pt>
                <c:pt idx="3">
                  <c:v>3.1861000000000002</c:v>
                </c:pt>
                <c:pt idx="4">
                  <c:v>2.7843</c:v>
                </c:pt>
                <c:pt idx="5">
                  <c:v>2.4508000000000001</c:v>
                </c:pt>
                <c:pt idx="6">
                  <c:v>2.4445999999999999</c:v>
                </c:pt>
              </c:numCache>
            </c:numRef>
          </c:xVal>
          <c:yVal>
            <c:numRef>
              <c:f>Sheet1!$B$2:$B$8</c:f>
              <c:numCache>
                <c:formatCode>General</c:formatCode>
                <c:ptCount val="7"/>
                <c:pt idx="0">
                  <c:v>0.84699999999999998</c:v>
                </c:pt>
                <c:pt idx="1">
                  <c:v>1.05</c:v>
                </c:pt>
                <c:pt idx="2">
                  <c:v>1.034</c:v>
                </c:pt>
                <c:pt idx="3">
                  <c:v>1.228</c:v>
                </c:pt>
                <c:pt idx="4">
                  <c:v>1.0660000000000001</c:v>
                </c:pt>
                <c:pt idx="5">
                  <c:v>1.2969999999999999</c:v>
                </c:pt>
                <c:pt idx="6">
                  <c:v>0.96899999999999997</c:v>
                </c:pt>
              </c:numCache>
            </c:numRef>
          </c:yVal>
          <c:bubbleSize>
            <c:numRef>
              <c:f>Sheet1!$C$2:$C$8</c:f>
              <c:numCache>
                <c:formatCode>General</c:formatCode>
                <c:ptCount val="7"/>
                <c:pt idx="0">
                  <c:v>623932113</c:v>
                </c:pt>
                <c:pt idx="1">
                  <c:v>230846945</c:v>
                </c:pt>
                <c:pt idx="2">
                  <c:v>221058561</c:v>
                </c:pt>
                <c:pt idx="3">
                  <c:v>161364371</c:v>
                </c:pt>
                <c:pt idx="4">
                  <c:v>54497273</c:v>
                </c:pt>
                <c:pt idx="5">
                  <c:v>43075846</c:v>
                </c:pt>
                <c:pt idx="6">
                  <c:v>27506509</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Casa Azzurra</c:v>
                  </c:pt>
                  <c:pt idx="6">
                    <c:v>Lait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7E242A-7392-4D94-871C-4F98DA265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4A972A-F6A6-486A-9B58-63A95CB90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EF7609-B5C8-42C5-B7E2-401DEE59A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28C35B-3ADE-4A52-85F1-CD3C7CD8D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11A3996-E1E2-4C5A-BA3A-4A83AA00E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6E4EB4-2DAA-449F-9C45-13EAF5109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34A124F-1893-4D1D-9641-D1903E043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4512925-E5D0-4BCF-A535-846A26CBDF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996000000000002</c:v>
                </c:pt>
                <c:pt idx="1">
                  <c:v>2.7795999999999998</c:v>
                </c:pt>
                <c:pt idx="2">
                  <c:v>3.1964999999999999</c:v>
                </c:pt>
                <c:pt idx="3">
                  <c:v>2.6046999999999998</c:v>
                </c:pt>
                <c:pt idx="4">
                  <c:v>2.8915000000000002</c:v>
                </c:pt>
                <c:pt idx="5">
                  <c:v>2.6497000000000002</c:v>
                </c:pt>
                <c:pt idx="6">
                  <c:v>2.4577</c:v>
                </c:pt>
              </c:numCache>
            </c:numRef>
          </c:xVal>
          <c:yVal>
            <c:numRef>
              <c:f>Sheet1!$B$2:$B$8</c:f>
              <c:numCache>
                <c:formatCode>General</c:formatCode>
                <c:ptCount val="7"/>
                <c:pt idx="0">
                  <c:v>0.86899999999999999</c:v>
                </c:pt>
                <c:pt idx="1">
                  <c:v>0.99</c:v>
                </c:pt>
                <c:pt idx="2">
                  <c:v>1.1259999999999999</c:v>
                </c:pt>
                <c:pt idx="3">
                  <c:v>0.96599999999999997</c:v>
                </c:pt>
                <c:pt idx="4">
                  <c:v>1.0169999999999999</c:v>
                </c:pt>
                <c:pt idx="5">
                  <c:v>1.29</c:v>
                </c:pt>
                <c:pt idx="6">
                  <c:v>0.89200000000000002</c:v>
                </c:pt>
              </c:numCache>
            </c:numRef>
          </c:yVal>
          <c:bubbleSize>
            <c:numRef>
              <c:f>Sheet1!$C$2:$C$8</c:f>
              <c:numCache>
                <c:formatCode>General</c:formatCode>
                <c:ptCount val="7"/>
                <c:pt idx="0">
                  <c:v>78402914</c:v>
                </c:pt>
                <c:pt idx="1">
                  <c:v>39941311</c:v>
                </c:pt>
                <c:pt idx="2">
                  <c:v>30956795</c:v>
                </c:pt>
                <c:pt idx="3">
                  <c:v>30134139</c:v>
                </c:pt>
                <c:pt idx="4">
                  <c:v>8949359</c:v>
                </c:pt>
                <c:pt idx="5">
                  <c:v>7961029</c:v>
                </c:pt>
                <c:pt idx="6">
                  <c:v>4989207</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Bel</c:v>
                  </c:pt>
                  <c:pt idx="3">
                    <c:v>Lactalis</c:v>
                  </c:pt>
                  <c:pt idx="4">
                    <c:v>Eurial</c:v>
                  </c:pt>
                  <c:pt idx="5">
                    <c:v>Casa Azzurra</c:v>
                  </c:pt>
                  <c:pt idx="6">
                    <c:v>Lait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A145C9-9E86-42D4-AA1F-678151102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F1B8D1B-97CA-48C7-A134-075C877B8F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C52FF3A-42E9-4BC1-B43C-17B1B4C95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54D61E-FE7B-4560-BF06-44936877C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6C618F-8FBD-4892-9EE9-43C5F95BE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296555-D9C4-4236-A325-49A8A3B36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B2756D5-D9C3-4774-A4FE-AF34758A1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1F61CF8-235F-40B9-BBBC-6992854B9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044999999999999</c:v>
                </c:pt>
                <c:pt idx="1">
                  <c:v>2.8706</c:v>
                </c:pt>
                <c:pt idx="2">
                  <c:v>2.8835000000000002</c:v>
                </c:pt>
                <c:pt idx="3">
                  <c:v>3.2128000000000001</c:v>
                </c:pt>
                <c:pt idx="4">
                  <c:v>3.2303000000000002</c:v>
                </c:pt>
                <c:pt idx="5">
                  <c:v>2.7543000000000002</c:v>
                </c:pt>
                <c:pt idx="6">
                  <c:v>2.3393000000000002</c:v>
                </c:pt>
                <c:pt idx="7">
                  <c:v>2.4453</c:v>
                </c:pt>
              </c:numCache>
            </c:numRef>
          </c:xVal>
          <c:yVal>
            <c:numRef>
              <c:f>Sheet1!$B$2:$B$9</c:f>
              <c:numCache>
                <c:formatCode>General</c:formatCode>
                <c:ptCount val="8"/>
                <c:pt idx="0">
                  <c:v>0.85</c:v>
                </c:pt>
                <c:pt idx="1">
                  <c:v>1.07</c:v>
                </c:pt>
                <c:pt idx="2">
                  <c:v>1.135</c:v>
                </c:pt>
                <c:pt idx="3">
                  <c:v>1.272</c:v>
                </c:pt>
                <c:pt idx="4">
                  <c:v>1.298</c:v>
                </c:pt>
                <c:pt idx="5">
                  <c:v>1.111</c:v>
                </c:pt>
                <c:pt idx="6">
                  <c:v>1.4450000000000001</c:v>
                </c:pt>
                <c:pt idx="7">
                  <c:v>0.98899999999999999</c:v>
                </c:pt>
              </c:numCache>
            </c:numRef>
          </c:yVal>
          <c:bubbleSize>
            <c:numRef>
              <c:f>Sheet1!$C$2:$C$9</c:f>
              <c:numCache>
                <c:formatCode>General</c:formatCode>
                <c:ptCount val="8"/>
                <c:pt idx="0">
                  <c:v>160601106</c:v>
                </c:pt>
                <c:pt idx="1">
                  <c:v>67333071</c:v>
                </c:pt>
                <c:pt idx="2">
                  <c:v>46502912</c:v>
                </c:pt>
                <c:pt idx="3">
                  <c:v>27737899</c:v>
                </c:pt>
                <c:pt idx="4">
                  <c:v>14677229</c:v>
                </c:pt>
                <c:pt idx="5">
                  <c:v>11017660</c:v>
                </c:pt>
                <c:pt idx="6">
                  <c:v>5724807</c:v>
                </c:pt>
                <c:pt idx="7">
                  <c:v>4050093</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Savencia</c:v>
                  </c:pt>
                  <c:pt idx="3">
                    <c:v>Bel</c:v>
                  </c:pt>
                  <c:pt idx="4">
                    <c:v>Entremont</c:v>
                  </c:pt>
                  <c:pt idx="5">
                    <c:v>Eurial</c:v>
                  </c:pt>
                  <c:pt idx="6">
                    <c:v>Casa Azzurra</c:v>
                  </c:pt>
                  <c:pt idx="7">
                    <c:v>Lait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4FDFB1-C7EB-42A6-AEC8-A819724F2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BF4EE8-63C1-44FA-9910-A2EFE3F80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64BBEF-2EE8-4BF0-BF6F-3670CDF0C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029132A-29A7-4E39-8B73-1BE2DC64A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4ADE50-FDB5-4A35-898A-113E26AED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E8583E3-A6EA-4175-8592-594EFAEDF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1795CAB-89B8-4616-AABA-7DF1A7D36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63834A1-E258-405D-A283-12D7F601A0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327000000000002</c:v>
                </c:pt>
                <c:pt idx="1">
                  <c:v>2.7843</c:v>
                </c:pt>
                <c:pt idx="2">
                  <c:v>2.5465</c:v>
                </c:pt>
                <c:pt idx="3">
                  <c:v>3.0708000000000002</c:v>
                </c:pt>
                <c:pt idx="4">
                  <c:v>2.7917999999999998</c:v>
                </c:pt>
                <c:pt idx="5">
                  <c:v>2.4697</c:v>
                </c:pt>
                <c:pt idx="6">
                  <c:v>2.4439000000000002</c:v>
                </c:pt>
              </c:numCache>
            </c:numRef>
          </c:xVal>
          <c:yVal>
            <c:numRef>
              <c:f>Sheet1!$B$2:$B$8</c:f>
              <c:numCache>
                <c:formatCode>General</c:formatCode>
                <c:ptCount val="7"/>
                <c:pt idx="0">
                  <c:v>0.85599999999999998</c:v>
                </c:pt>
                <c:pt idx="1">
                  <c:v>1.0249999999999999</c:v>
                </c:pt>
                <c:pt idx="2">
                  <c:v>1.038</c:v>
                </c:pt>
                <c:pt idx="3">
                  <c:v>1.1679999999999999</c:v>
                </c:pt>
                <c:pt idx="4">
                  <c:v>1.069</c:v>
                </c:pt>
                <c:pt idx="5">
                  <c:v>1.2989999999999999</c:v>
                </c:pt>
                <c:pt idx="6">
                  <c:v>0.98</c:v>
                </c:pt>
              </c:numCache>
            </c:numRef>
          </c:yVal>
          <c:bubbleSize>
            <c:numRef>
              <c:f>Sheet1!$C$2:$C$8</c:f>
              <c:numCache>
                <c:formatCode>General</c:formatCode>
                <c:ptCount val="7"/>
                <c:pt idx="0">
                  <c:v>519196378</c:v>
                </c:pt>
                <c:pt idx="1">
                  <c:v>207969796</c:v>
                </c:pt>
                <c:pt idx="2">
                  <c:v>184294135</c:v>
                </c:pt>
                <c:pt idx="3">
                  <c:v>122270486</c:v>
                </c:pt>
                <c:pt idx="4">
                  <c:v>51892782</c:v>
                </c:pt>
                <c:pt idx="5">
                  <c:v>41232866</c:v>
                </c:pt>
                <c:pt idx="6">
                  <c:v>27182585</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Casa Azzurra</c:v>
                  </c:pt>
                  <c:pt idx="6">
                    <c:v>Lait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01B9E4-9858-4B16-9350-AA54D1030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9B11BC3-997E-4CE9-A97A-2CD6111326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FFDD4AE-9B43-4204-A94B-07BDD2956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9350E9E-BDBF-4A4C-9700-28B505EBE9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0A2A0AB-F9D7-4D44-981B-DD7C1F0EA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FDF5E3-0AC4-4337-9A65-43380002A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551EFA-4318-49AC-A365-38AD8DB3E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2204930-237B-41C5-965B-6DDDA52B6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53999999999998</c:v>
                </c:pt>
                <c:pt idx="1">
                  <c:v>2.82</c:v>
                </c:pt>
                <c:pt idx="2">
                  <c:v>2.6032000000000002</c:v>
                </c:pt>
                <c:pt idx="3">
                  <c:v>3.0579000000000001</c:v>
                </c:pt>
                <c:pt idx="4">
                  <c:v>2.8915000000000002</c:v>
                </c:pt>
                <c:pt idx="5">
                  <c:v>2.6497000000000002</c:v>
                </c:pt>
                <c:pt idx="6">
                  <c:v>2.4577</c:v>
                </c:pt>
                <c:pt idx="7">
                  <c:v>2.7347999999999999</c:v>
                </c:pt>
              </c:numCache>
            </c:numRef>
          </c:xVal>
          <c:yVal>
            <c:numRef>
              <c:f>Sheet1!$B$2:$B$9</c:f>
              <c:numCache>
                <c:formatCode>General</c:formatCode>
                <c:ptCount val="8"/>
                <c:pt idx="0">
                  <c:v>0.88300000000000001</c:v>
                </c:pt>
                <c:pt idx="1">
                  <c:v>0.98599999999999999</c:v>
                </c:pt>
                <c:pt idx="2">
                  <c:v>0.97899999999999998</c:v>
                </c:pt>
                <c:pt idx="3">
                  <c:v>1.0580000000000001</c:v>
                </c:pt>
                <c:pt idx="4">
                  <c:v>1.0369999999999999</c:v>
                </c:pt>
                <c:pt idx="5">
                  <c:v>1.3160000000000001</c:v>
                </c:pt>
                <c:pt idx="6">
                  <c:v>0.90900000000000003</c:v>
                </c:pt>
                <c:pt idx="7">
                  <c:v>1.871</c:v>
                </c:pt>
              </c:numCache>
            </c:numRef>
          </c:yVal>
          <c:bubbleSize>
            <c:numRef>
              <c:f>Sheet1!$C$2:$C$9</c:f>
              <c:numCache>
                <c:formatCode>General</c:formatCode>
                <c:ptCount val="8"/>
                <c:pt idx="0">
                  <c:v>77897599</c:v>
                </c:pt>
                <c:pt idx="1">
                  <c:v>37828387</c:v>
                </c:pt>
                <c:pt idx="2">
                  <c:v>29884062</c:v>
                </c:pt>
                <c:pt idx="3">
                  <c:v>23567757</c:v>
                </c:pt>
                <c:pt idx="4">
                  <c:v>8949359</c:v>
                </c:pt>
                <c:pt idx="5">
                  <c:v>7961029</c:v>
                </c:pt>
                <c:pt idx="6">
                  <c:v>4989207</c:v>
                </c:pt>
                <c:pt idx="7">
                  <c:v>2314948</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Casa Azzurra</c:v>
                  </c:pt>
                  <c:pt idx="6">
                    <c:v>Laita</c:v>
                  </c:pt>
                  <c:pt idx="7">
                    <c:v>Ker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71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9818EDB-1901-467C-8B27-BE253CB6E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A8C70CF-86FA-4BF4-AAC7-A5CBD38E6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7FEC58-3D58-4E2D-9B69-A09CDC557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4FB377C-B1B6-403B-B1C1-781A0BFFAD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5DC40A-F7F3-4D5B-99F2-6B2F146454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6AE6730-474A-4028-B68C-56052BEE9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6DA134A-E713-427C-9CB4-3124336AE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3FE1C9D-55E1-4F41-8195-B95CCDD45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131000000000001</c:v>
                </c:pt>
                <c:pt idx="1">
                  <c:v>2.8401999999999998</c:v>
                </c:pt>
                <c:pt idx="2">
                  <c:v>2.6217000000000001</c:v>
                </c:pt>
                <c:pt idx="3">
                  <c:v>3.0758999999999999</c:v>
                </c:pt>
                <c:pt idx="4">
                  <c:v>2.7930999999999999</c:v>
                </c:pt>
                <c:pt idx="5">
                  <c:v>2.4775999999999998</c:v>
                </c:pt>
                <c:pt idx="6">
                  <c:v>2.4403999999999999</c:v>
                </c:pt>
              </c:numCache>
            </c:numRef>
          </c:xVal>
          <c:yVal>
            <c:numRef>
              <c:f>Sheet1!$B$2:$B$8</c:f>
              <c:numCache>
                <c:formatCode>General</c:formatCode>
                <c:ptCount val="7"/>
                <c:pt idx="0">
                  <c:v>0.84599999999999997</c:v>
                </c:pt>
                <c:pt idx="1">
                  <c:v>1.0369999999999999</c:v>
                </c:pt>
                <c:pt idx="2">
                  <c:v>1.048</c:v>
                </c:pt>
                <c:pt idx="3">
                  <c:v>1.2030000000000001</c:v>
                </c:pt>
                <c:pt idx="4">
                  <c:v>1.0569999999999999</c:v>
                </c:pt>
                <c:pt idx="5">
                  <c:v>1.33</c:v>
                </c:pt>
                <c:pt idx="6">
                  <c:v>0.97699999999999998</c:v>
                </c:pt>
              </c:numCache>
            </c:numRef>
          </c:yVal>
          <c:bubbleSize>
            <c:numRef>
              <c:f>Sheet1!$C$2:$C$8</c:f>
              <c:numCache>
                <c:formatCode>General</c:formatCode>
                <c:ptCount val="7"/>
                <c:pt idx="0">
                  <c:v>58897416</c:v>
                </c:pt>
                <c:pt idx="1">
                  <c:v>33665330</c:v>
                </c:pt>
                <c:pt idx="2">
                  <c:v>31234910</c:v>
                </c:pt>
                <c:pt idx="3">
                  <c:v>19359820</c:v>
                </c:pt>
                <c:pt idx="4">
                  <c:v>8454992</c:v>
                </c:pt>
                <c:pt idx="5">
                  <c:v>3881891</c:v>
                </c:pt>
                <c:pt idx="6">
                  <c:v>3726300</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Casa Azzurra</c:v>
                  </c:pt>
                  <c:pt idx="6">
                    <c:v>Lait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19D0B6-B86B-483D-B8FF-4084034F1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ADE9C2-CD25-4B48-B41F-DAC51C35F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5FF2F7-8681-4B82-93FA-840FF58D3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7CE4524-F60D-4412-B4B7-19B6FBB1F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0A5B87C-3175-4A98-8A80-E736BC69D0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70B1DEC-8F42-41CC-8308-2EB2F75B3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874B36D-9A09-4F8F-B5F8-792EF823E6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EE1FD3C-C9DA-4FDF-9F31-99D6AECCF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6892</c:v>
                </c:pt>
                <c:pt idx="1">
                  <c:v>2.1379000000000001</c:v>
                </c:pt>
                <c:pt idx="2">
                  <c:v>2.8439999999999999</c:v>
                </c:pt>
                <c:pt idx="3">
                  <c:v>3.3717999999999999</c:v>
                </c:pt>
              </c:numCache>
            </c:numRef>
          </c:xVal>
          <c:yVal>
            <c:numRef>
              <c:f>Sheet1!$B$2:$B$5</c:f>
              <c:numCache>
                <c:formatCode>General</c:formatCode>
                <c:ptCount val="4"/>
                <c:pt idx="0">
                  <c:v>0.93400000000000005</c:v>
                </c:pt>
                <c:pt idx="1">
                  <c:v>1.075</c:v>
                </c:pt>
                <c:pt idx="2">
                  <c:v>1.306</c:v>
                </c:pt>
                <c:pt idx="3">
                  <c:v>1.6950000000000001</c:v>
                </c:pt>
              </c:numCache>
            </c:numRef>
          </c:yVal>
          <c:bubbleSize>
            <c:numRef>
              <c:f>Sheet1!$C$2:$C$5</c:f>
              <c:numCache>
                <c:formatCode>General</c:formatCode>
                <c:ptCount val="4"/>
                <c:pt idx="0">
                  <c:v>36938121</c:v>
                </c:pt>
                <c:pt idx="1">
                  <c:v>11829385</c:v>
                </c:pt>
                <c:pt idx="2">
                  <c:v>3695927</c:v>
                </c:pt>
                <c:pt idx="3">
                  <c:v>664513</c:v>
                </c:pt>
              </c:numCache>
            </c:numRef>
          </c:bubbleSize>
          <c:bubble3D val="0"/>
          <c:extLst>
            <c:ext xmlns:c15="http://schemas.microsoft.com/office/drawing/2012/chart" uri="{02D57815-91ED-43cb-92C2-25804820EDAC}">
              <c15:datalabelsRange>
                <c15:f>Sheet1!$E$2:$E$10</c15:f>
                <c15:dlblRangeCache>
                  <c:ptCount val="9"/>
                  <c:pt idx="0">
                    <c:v>Bel</c:v>
                  </c:pt>
                  <c:pt idx="1">
                    <c:v>Savencia</c:v>
                  </c:pt>
                  <c:pt idx="2">
                    <c:v>Mdd</c:v>
                  </c:pt>
                  <c:pt idx="3">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2A9F87-AECC-47D8-86E2-3585F5B8F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A00968-68FC-42C0-A4B0-B70E7046D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0F02F1-FF19-49A2-BED3-06851DB44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DA32DF-6502-4ECD-A3B3-B46B590DD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744AE20-CB8B-4DB6-B47D-1C4E5655F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29AA8B8-AE14-4632-B963-60298F385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D1E02C9-7AA4-4C98-8313-B3238F078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ACE2EC9-D716-443B-AD61-A14702E9D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7938000000000001</c:v>
                </c:pt>
                <c:pt idx="1">
                  <c:v>2.2122000000000002</c:v>
                </c:pt>
                <c:pt idx="2">
                  <c:v>3.1278999999999999</c:v>
                </c:pt>
                <c:pt idx="3">
                  <c:v>2.7902</c:v>
                </c:pt>
              </c:numCache>
            </c:numRef>
          </c:xVal>
          <c:yVal>
            <c:numRef>
              <c:f>Sheet1!$B$2:$B$5</c:f>
              <c:numCache>
                <c:formatCode>General</c:formatCode>
                <c:ptCount val="4"/>
                <c:pt idx="0">
                  <c:v>0.93400000000000005</c:v>
                </c:pt>
                <c:pt idx="1">
                  <c:v>1.048</c:v>
                </c:pt>
                <c:pt idx="2">
                  <c:v>1.492</c:v>
                </c:pt>
                <c:pt idx="3">
                  <c:v>1.762</c:v>
                </c:pt>
              </c:numCache>
            </c:numRef>
          </c:yVal>
          <c:bubbleSize>
            <c:numRef>
              <c:f>Sheet1!$C$2:$C$5</c:f>
              <c:numCache>
                <c:formatCode>General</c:formatCode>
                <c:ptCount val="4"/>
                <c:pt idx="0">
                  <c:v>7143856</c:v>
                </c:pt>
                <c:pt idx="1">
                  <c:v>2085021</c:v>
                </c:pt>
                <c:pt idx="2">
                  <c:v>505315</c:v>
                </c:pt>
                <c:pt idx="3">
                  <c:v>250077</c:v>
                </c:pt>
              </c:numCache>
            </c:numRef>
          </c:bubbleSize>
          <c:bubble3D val="0"/>
          <c:extLst>
            <c:ext xmlns:c15="http://schemas.microsoft.com/office/drawing/2012/chart" uri="{02D57815-91ED-43cb-92C2-25804820EDAC}">
              <c15:datalabelsRange>
                <c15:f>Sheet1!$E$2:$E$10</c15:f>
                <c15:dlblRangeCache>
                  <c:ptCount val="9"/>
                  <c:pt idx="0">
                    <c:v>Bel</c:v>
                  </c:pt>
                  <c:pt idx="1">
                    <c:v>Savencia</c:v>
                  </c:pt>
                  <c:pt idx="2">
                    <c:v>Mdd</c:v>
                  </c:pt>
                  <c:pt idx="3">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1FBFED-75EB-4DAB-AC57-966141811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61C606A-53DF-4E2C-AC2F-58F9E0833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FF8F79-8750-4F21-BE54-FF88DD435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4A16637-07B1-464F-BDB6-5B9712B8F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84D34F7-608F-43D1-BBE6-5E9819B486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A6EEDD0-959B-4C92-B883-73875D434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95943F9-FB8C-4AF5-A148-EB1D6B79F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1E5DDAA-670D-4BD3-B152-4EBA1E75B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8656000000000001</c:v>
                </c:pt>
                <c:pt idx="1">
                  <c:v>2.3357999999999999</c:v>
                </c:pt>
                <c:pt idx="2">
                  <c:v>2.6114000000000002</c:v>
                </c:pt>
              </c:numCache>
            </c:numRef>
          </c:xVal>
          <c:yVal>
            <c:numRef>
              <c:f>Sheet1!$B$2:$B$4</c:f>
              <c:numCache>
                <c:formatCode>General</c:formatCode>
                <c:ptCount val="3"/>
                <c:pt idx="0">
                  <c:v>0.96099999999999997</c:v>
                </c:pt>
                <c:pt idx="1">
                  <c:v>1.1559999999999999</c:v>
                </c:pt>
                <c:pt idx="2">
                  <c:v>0.97599999999999998</c:v>
                </c:pt>
              </c:numCache>
            </c:numRef>
          </c:yVal>
          <c:bubbleSize>
            <c:numRef>
              <c:f>Sheet1!$C$2:$C$4</c:f>
              <c:numCache>
                <c:formatCode>General</c:formatCode>
                <c:ptCount val="3"/>
                <c:pt idx="0">
                  <c:v>6950194</c:v>
                </c:pt>
                <c:pt idx="1">
                  <c:v>2248742</c:v>
                </c:pt>
                <c:pt idx="2">
                  <c:v>736159</c:v>
                </c:pt>
              </c:numCache>
            </c:numRef>
          </c:bubbleSize>
          <c:bubble3D val="0"/>
          <c:extLst>
            <c:ext xmlns:c15="http://schemas.microsoft.com/office/drawing/2012/chart" uri="{02D57815-91ED-43cb-92C2-25804820EDAC}">
              <c15:datalabelsRange>
                <c15:f>Sheet1!$E$2:$E$10</c15:f>
                <c15:dlblRangeCache>
                  <c:ptCount val="9"/>
                  <c:pt idx="0">
                    <c:v>Bel</c:v>
                  </c:pt>
                  <c:pt idx="1">
                    <c:v>Savencia</c:v>
                  </c:pt>
                  <c:pt idx="2">
                    <c:v>Md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C567763-1A76-442B-A3C9-1774A50EB5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9564E983-6940-4E0D-AD9F-3244FDAD0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043D1CA-1137-47D3-B904-C78E52F0E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6FB03DB-B76D-4C12-81BF-1DA72F78FA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1D08030-7781-4188-A33B-41924FB12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AFC35166-C4F7-455A-8358-CC1063262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E002443B-6E7D-4A06-AD0B-25CE87FFDE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162F89AE-8448-4675-B028-C2C5F4164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7187000000000001</c:v>
                </c:pt>
                <c:pt idx="1">
                  <c:v>2.0144000000000002</c:v>
                </c:pt>
                <c:pt idx="2">
                  <c:v>3.5047999999999999</c:v>
                </c:pt>
                <c:pt idx="3">
                  <c:v>2.8439999999999999</c:v>
                </c:pt>
                <c:pt idx="4">
                  <c:v>2.6423000000000001</c:v>
                </c:pt>
              </c:numCache>
            </c:numRef>
          </c:xVal>
          <c:yVal>
            <c:numRef>
              <c:f>Sheet1!$B$2:$B$6</c:f>
              <c:numCache>
                <c:formatCode>General</c:formatCode>
                <c:ptCount val="5"/>
                <c:pt idx="0">
                  <c:v>0.872</c:v>
                </c:pt>
                <c:pt idx="1">
                  <c:v>1.014</c:v>
                </c:pt>
                <c:pt idx="2">
                  <c:v>1.7649999999999999</c:v>
                </c:pt>
                <c:pt idx="3">
                  <c:v>1.306</c:v>
                </c:pt>
                <c:pt idx="4">
                  <c:v>1.331</c:v>
                </c:pt>
              </c:numCache>
            </c:numRef>
          </c:yVal>
          <c:bubbleSize>
            <c:numRef>
              <c:f>Sheet1!$C$2:$C$6</c:f>
              <c:numCache>
                <c:formatCode>General</c:formatCode>
                <c:ptCount val="5"/>
                <c:pt idx="0">
                  <c:v>32111482</c:v>
                </c:pt>
                <c:pt idx="1">
                  <c:v>8926552</c:v>
                </c:pt>
                <c:pt idx="2">
                  <c:v>4826639</c:v>
                </c:pt>
                <c:pt idx="3">
                  <c:v>3695927</c:v>
                </c:pt>
                <c:pt idx="4">
                  <c:v>2844424</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04FF71-07AE-48DD-88DC-F6E685C2B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D24A0C-6383-4443-8D8B-9F72DC308E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403C0F-70A3-474E-9FD5-7D093F90D1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652576-5026-4068-B959-1D8CCBDCD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C9ECE73-6154-4F7C-98B7-AE5DC41A4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1FCEE1E-86B2-48EA-AB0C-CEAD73168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952CF08-A050-4038-BA08-40E386E83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5A8292C-0CD8-4246-9A60-1AF338AE9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875999999999999</c:v>
                </c:pt>
                <c:pt idx="1">
                  <c:v>2.2650999999999999</c:v>
                </c:pt>
                <c:pt idx="2">
                  <c:v>2.7081</c:v>
                </c:pt>
                <c:pt idx="3">
                  <c:v>2.4881000000000002</c:v>
                </c:pt>
                <c:pt idx="4">
                  <c:v>2.71</c:v>
                </c:pt>
              </c:numCache>
            </c:numRef>
          </c:xVal>
          <c:yVal>
            <c:numRef>
              <c:f>Sheet1!$B$2:$B$6</c:f>
              <c:numCache>
                <c:formatCode>General</c:formatCode>
                <c:ptCount val="5"/>
                <c:pt idx="0">
                  <c:v>0.84099999999999997</c:v>
                </c:pt>
                <c:pt idx="1">
                  <c:v>1.167</c:v>
                </c:pt>
                <c:pt idx="2">
                  <c:v>1.462</c:v>
                </c:pt>
                <c:pt idx="3">
                  <c:v>0.80600000000000005</c:v>
                </c:pt>
                <c:pt idx="4">
                  <c:v>1.4079999999999999</c:v>
                </c:pt>
              </c:numCache>
            </c:numRef>
          </c:yVal>
          <c:bubbleSize>
            <c:numRef>
              <c:f>Sheet1!$C$2:$C$6</c:f>
              <c:numCache>
                <c:formatCode>General</c:formatCode>
                <c:ptCount val="5"/>
                <c:pt idx="0">
                  <c:v>3832147</c:v>
                </c:pt>
                <c:pt idx="1">
                  <c:v>3537876</c:v>
                </c:pt>
                <c:pt idx="2">
                  <c:v>173629</c:v>
                </c:pt>
                <c:pt idx="3">
                  <c:v>124581</c:v>
                </c:pt>
                <c:pt idx="4">
                  <c:v>91696</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Bel</c:v>
                  </c:pt>
                  <c:pt idx="3">
                    <c:v>Les Mousquetaires</c:v>
                  </c:pt>
                  <c:pt idx="4">
                    <c:v>Miller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6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A7E017-6B7B-411E-8D9A-95B0CE77DB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53999F-3C89-4BD4-94B8-86341B2F4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84AE06-D3C4-4D6A-B91E-DA501074F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AE57EC3-F7B0-4292-B046-7E2060B42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8F7132-9A01-43CC-8EC3-ADEBE343F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6B3D4FF-F2DA-4BD6-9FA6-327339A9A3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3D6CF09-1046-42AA-8A6B-D96C55F34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FD914B5-25CE-4418-B679-AF632FA65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875999999999999</c:v>
                </c:pt>
                <c:pt idx="1">
                  <c:v>2.2648999999999999</c:v>
                </c:pt>
                <c:pt idx="2">
                  <c:v>2.7082000000000002</c:v>
                </c:pt>
                <c:pt idx="3">
                  <c:v>2.4881000000000002</c:v>
                </c:pt>
                <c:pt idx="4">
                  <c:v>2.7107000000000001</c:v>
                </c:pt>
              </c:numCache>
            </c:numRef>
          </c:xVal>
          <c:yVal>
            <c:numRef>
              <c:f>Sheet1!$B$2:$B$6</c:f>
              <c:numCache>
                <c:formatCode>General</c:formatCode>
                <c:ptCount val="5"/>
                <c:pt idx="0">
                  <c:v>0.84099999999999997</c:v>
                </c:pt>
                <c:pt idx="1">
                  <c:v>1.167</c:v>
                </c:pt>
                <c:pt idx="2">
                  <c:v>1.4630000000000001</c:v>
                </c:pt>
                <c:pt idx="3">
                  <c:v>0.80600000000000005</c:v>
                </c:pt>
                <c:pt idx="4">
                  <c:v>1.415</c:v>
                </c:pt>
              </c:numCache>
            </c:numRef>
          </c:yVal>
          <c:bubbleSize>
            <c:numRef>
              <c:f>Sheet1!$C$2:$C$6</c:f>
              <c:numCache>
                <c:formatCode>General</c:formatCode>
                <c:ptCount val="5"/>
                <c:pt idx="0">
                  <c:v>3832081</c:v>
                </c:pt>
                <c:pt idx="1">
                  <c:v>3536803</c:v>
                </c:pt>
                <c:pt idx="2">
                  <c:v>173626</c:v>
                </c:pt>
                <c:pt idx="3">
                  <c:v>124578</c:v>
                </c:pt>
                <c:pt idx="4">
                  <c:v>91689</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Bel</c:v>
                  </c:pt>
                  <c:pt idx="3">
                    <c:v>Les Mousquetaires</c:v>
                  </c:pt>
                  <c:pt idx="4">
                    <c:v>Miller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6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E1261C-F379-432A-823D-E37DE4233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BBD2AB-943A-4875-AD3D-54DB909C9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35BC54-ABBA-4BDF-979F-FD1018FBB6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4B4E28-C184-4D17-8369-818659696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7E3FB6B-B290-40F9-8F9F-7A4ECE928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534E6FD-8BFE-4337-9355-931CF43B4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F2CB3F0-3317-4C45-BF9E-84C5937DD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32E58F9-9D61-4B4F-B898-119CA0BEDB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2774000000000001</c:v>
                </c:pt>
                <c:pt idx="1">
                  <c:v>2.2189999999999999</c:v>
                </c:pt>
                <c:pt idx="2">
                  <c:v>2.7052999999999998</c:v>
                </c:pt>
                <c:pt idx="3">
                  <c:v>3.2702</c:v>
                </c:pt>
              </c:numCache>
            </c:numRef>
          </c:xVal>
          <c:yVal>
            <c:numRef>
              <c:f>Sheet1!$B$2:$B$5</c:f>
              <c:numCache>
                <c:formatCode>General</c:formatCode>
                <c:ptCount val="4"/>
                <c:pt idx="0">
                  <c:v>1.0780000000000001</c:v>
                </c:pt>
                <c:pt idx="1">
                  <c:v>0.624</c:v>
                </c:pt>
                <c:pt idx="2">
                  <c:v>1.8620000000000001</c:v>
                </c:pt>
                <c:pt idx="3">
                  <c:v>1.425</c:v>
                </c:pt>
              </c:numCache>
            </c:numRef>
          </c:yVal>
          <c:bubbleSize>
            <c:numRef>
              <c:f>Sheet1!$C$2:$C$5</c:f>
              <c:numCache>
                <c:formatCode>General</c:formatCode>
                <c:ptCount val="4"/>
                <c:pt idx="0">
                  <c:v>99993318</c:v>
                </c:pt>
                <c:pt idx="1">
                  <c:v>22083602</c:v>
                </c:pt>
                <c:pt idx="2">
                  <c:v>11823541</c:v>
                </c:pt>
                <c:pt idx="3">
                  <c:v>2636149</c:v>
                </c:pt>
              </c:numCache>
            </c:numRef>
          </c:bubbleSize>
          <c:bubble3D val="0"/>
          <c:extLst>
            <c:ext xmlns:c15="http://schemas.microsoft.com/office/drawing/2012/chart" uri="{02D57815-91ED-43cb-92C2-25804820EDAC}">
              <c15:datalabelsRange>
                <c15:f>Sheet1!$E$2:$E$10</c15:f>
                <c15:dlblRangeCache>
                  <c:ptCount val="9"/>
                  <c:pt idx="0">
                    <c:v>Bel</c:v>
                  </c:pt>
                  <c:pt idx="1">
                    <c:v>Mdd</c:v>
                  </c:pt>
                  <c:pt idx="2">
                    <c:v>Kerry</c:v>
                  </c:pt>
                  <c:pt idx="3">
                    <c:v>Savenc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4528CF-87E5-4D63-980D-A626916BA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6575D8-F4EA-4FEE-8AA6-00EC0AAA5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255915B-5E75-413A-AA99-148DE3485B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C2C1C19-1112-47C0-96AA-C23F80F20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24F1E45-3440-4D0E-A55C-601FD4B6F8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1881424-03F1-46C0-B1F7-EFA4FE691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7CF8CB3-8597-4646-A9CC-DEF7BFE0D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178DE8B-ABDD-4D03-A844-C4A0B405DF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2887</c:v>
                </c:pt>
                <c:pt idx="1">
                  <c:v>2.2936000000000001</c:v>
                </c:pt>
                <c:pt idx="2">
                  <c:v>2.7347999999999999</c:v>
                </c:pt>
                <c:pt idx="3">
                  <c:v>3.0028000000000001</c:v>
                </c:pt>
              </c:numCache>
            </c:numRef>
          </c:xVal>
          <c:yVal>
            <c:numRef>
              <c:f>Sheet1!$B$2:$B$5</c:f>
              <c:numCache>
                <c:formatCode>General</c:formatCode>
                <c:ptCount val="4"/>
                <c:pt idx="0">
                  <c:v>1.0009999999999999</c:v>
                </c:pt>
                <c:pt idx="1">
                  <c:v>0.67</c:v>
                </c:pt>
                <c:pt idx="2">
                  <c:v>1.853</c:v>
                </c:pt>
                <c:pt idx="3">
                  <c:v>1.5209999999999999</c:v>
                </c:pt>
              </c:numCache>
            </c:numRef>
          </c:yVal>
          <c:bubbleSize>
            <c:numRef>
              <c:f>Sheet1!$C$2:$C$5</c:f>
              <c:numCache>
                <c:formatCode>General</c:formatCode>
                <c:ptCount val="4"/>
                <c:pt idx="0">
                  <c:v>18935384</c:v>
                </c:pt>
                <c:pt idx="1">
                  <c:v>2504979</c:v>
                </c:pt>
                <c:pt idx="2">
                  <c:v>2314948</c:v>
                </c:pt>
                <c:pt idx="3">
                  <c:v>426610</c:v>
                </c:pt>
              </c:numCache>
            </c:numRef>
          </c:bubbleSize>
          <c:bubble3D val="0"/>
          <c:extLst>
            <c:ext xmlns:c15="http://schemas.microsoft.com/office/drawing/2012/chart" uri="{02D57815-91ED-43cb-92C2-25804820EDAC}">
              <c15:datalabelsRange>
                <c15:f>Sheet1!$E$2:$E$10</c15:f>
                <c15:dlblRangeCache>
                  <c:ptCount val="9"/>
                  <c:pt idx="0">
                    <c:v>Bel</c:v>
                  </c:pt>
                  <c:pt idx="1">
                    <c:v>Mdd</c:v>
                  </c:pt>
                  <c:pt idx="2">
                    <c:v>Kerry</c:v>
                  </c:pt>
                  <c:pt idx="3">
                    <c:v>Savenc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D70982-82D9-4D96-BA85-37EAD853B5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4CC3F4-D781-47E6-848E-E26F1547C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64EE6A7-DD62-43AF-A372-85B7F6CCA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9D310D3-BABB-4E10-8B61-7DC0AFC9A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0B582E8-7671-4156-BD79-4C2F6C946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93D5DFE-FD94-4A2E-9204-62CEF9369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E31E2E8-1EB2-43D9-8495-447F2B854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DDB9C4F-760C-4502-A4B1-84B0E1F82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2959000000000001</c:v>
                </c:pt>
                <c:pt idx="1">
                  <c:v>2.0539000000000001</c:v>
                </c:pt>
                <c:pt idx="2">
                  <c:v>2.6819999999999999</c:v>
                </c:pt>
                <c:pt idx="3">
                  <c:v>3.7010999999999998</c:v>
                </c:pt>
              </c:numCache>
            </c:numRef>
          </c:xVal>
          <c:yVal>
            <c:numRef>
              <c:f>Sheet1!$B$2:$B$5</c:f>
              <c:numCache>
                <c:formatCode>General</c:formatCode>
                <c:ptCount val="4"/>
                <c:pt idx="0">
                  <c:v>1.042</c:v>
                </c:pt>
                <c:pt idx="1">
                  <c:v>0.629</c:v>
                </c:pt>
                <c:pt idx="2">
                  <c:v>1.804</c:v>
                </c:pt>
                <c:pt idx="3">
                  <c:v>1.266</c:v>
                </c:pt>
              </c:numCache>
            </c:numRef>
          </c:yVal>
          <c:bubbleSize>
            <c:numRef>
              <c:f>Sheet1!$C$2:$C$5</c:f>
              <c:numCache>
                <c:formatCode>General</c:formatCode>
                <c:ptCount val="4"/>
                <c:pt idx="0">
                  <c:v>14944759</c:v>
                </c:pt>
                <c:pt idx="1">
                  <c:v>2456999</c:v>
                </c:pt>
                <c:pt idx="2">
                  <c:v>1686737</c:v>
                </c:pt>
                <c:pt idx="3">
                  <c:v>437701</c:v>
                </c:pt>
              </c:numCache>
            </c:numRef>
          </c:bubbleSize>
          <c:bubble3D val="0"/>
          <c:extLst>
            <c:ext xmlns:c15="http://schemas.microsoft.com/office/drawing/2012/chart" uri="{02D57815-91ED-43cb-92C2-25804820EDAC}">
              <c15:datalabelsRange>
                <c15:f>Sheet1!$E$2:$E$10</c15:f>
                <c15:dlblRangeCache>
                  <c:ptCount val="9"/>
                  <c:pt idx="0">
                    <c:v>Bel</c:v>
                  </c:pt>
                  <c:pt idx="1">
                    <c:v>Mdd</c:v>
                  </c:pt>
                  <c:pt idx="2">
                    <c:v>Kerry</c:v>
                  </c:pt>
                  <c:pt idx="3">
                    <c:v>Savenc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1CBC1D-9A87-4B3C-8075-290C37EC8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D5B785-FF54-41ED-BCF2-3ADBCBC66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A9BCB1-EB8D-4FA3-B2E6-6C82B056A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798DBE-7800-4698-B154-80CE76B362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966577-6399-496E-9F8C-97B1B82ABA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C5CC8EF-AFEF-4AD1-9DF2-BE31F7730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4C12264-824F-4C98-9A12-D4CD6097A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D266454-6A04-4034-9E68-D0140749B4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738</c:v>
                </c:pt>
                <c:pt idx="1">
                  <c:v>1.4815</c:v>
                </c:pt>
                <c:pt idx="2">
                  <c:v>2.4367999999999999</c:v>
                </c:pt>
                <c:pt idx="3">
                  <c:v>2.4342000000000001</c:v>
                </c:pt>
                <c:pt idx="4">
                  <c:v>2.6006</c:v>
                </c:pt>
                <c:pt idx="5">
                  <c:v>1.7744</c:v>
                </c:pt>
              </c:numCache>
            </c:numRef>
          </c:xVal>
          <c:yVal>
            <c:numRef>
              <c:f>Sheet1!$B$2:$B$7</c:f>
              <c:numCache>
                <c:formatCode>General</c:formatCode>
                <c:ptCount val="6"/>
                <c:pt idx="0">
                  <c:v>1.1299999999999999</c:v>
                </c:pt>
                <c:pt idx="1">
                  <c:v>0.68100000000000005</c:v>
                </c:pt>
                <c:pt idx="2">
                  <c:v>1.0249999999999999</c:v>
                </c:pt>
                <c:pt idx="3">
                  <c:v>1.3740000000000001</c:v>
                </c:pt>
                <c:pt idx="4">
                  <c:v>1.0740000000000001</c:v>
                </c:pt>
                <c:pt idx="5">
                  <c:v>1.155</c:v>
                </c:pt>
              </c:numCache>
            </c:numRef>
          </c:yVal>
          <c:bubbleSize>
            <c:numRef>
              <c:f>Sheet1!$C$2:$C$7</c:f>
              <c:numCache>
                <c:formatCode>General</c:formatCode>
                <c:ptCount val="6"/>
                <c:pt idx="0">
                  <c:v>83559931</c:v>
                </c:pt>
                <c:pt idx="1">
                  <c:v>33615603</c:v>
                </c:pt>
                <c:pt idx="2">
                  <c:v>26692802</c:v>
                </c:pt>
                <c:pt idx="3">
                  <c:v>17556624</c:v>
                </c:pt>
                <c:pt idx="4">
                  <c:v>7736534</c:v>
                </c:pt>
                <c:pt idx="5">
                  <c:v>3496877</c:v>
                </c:pt>
              </c:numCache>
            </c:numRef>
          </c:bubbleSize>
          <c:bubble3D val="0"/>
          <c:extLst>
            <c:ext xmlns:c15="http://schemas.microsoft.com/office/drawing/2012/chart" uri="{02D57815-91ED-43cb-92C2-25804820EDAC}">
              <c15:datalabelsRange>
                <c15:f>Sheet1!$E$2:$E$10</c15:f>
                <c15:dlblRangeCache>
                  <c:ptCount val="9"/>
                  <c:pt idx="0">
                    <c:v>Savencia</c:v>
                  </c:pt>
                  <c:pt idx="1">
                    <c:v>Mdd</c:v>
                  </c:pt>
                  <c:pt idx="2">
                    <c:v>Laita</c:v>
                  </c:pt>
                  <c:pt idx="3">
                    <c:v>Bel</c:v>
                  </c:pt>
                  <c:pt idx="4">
                    <c:v>Mondelez</c:v>
                  </c:pt>
                  <c:pt idx="5">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4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6BC35F-E527-4FFB-99F9-F234033D6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CF36268-42B6-4FC4-B8A0-68CA739E97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0B309F-3D14-4985-B34A-B1AC6CB94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B8D5B96-E973-44AE-ABC5-B78A78782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13C120-2C72-4273-BD87-2376F729A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E72468-A43B-4922-BCB5-A0D057D89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8CCE79C-6F8E-41A6-907E-024FCABCB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0487B1C-635F-431D-8E5A-D85BEBAA72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7431000000000001</c:v>
                </c:pt>
                <c:pt idx="1">
                  <c:v>2.4175</c:v>
                </c:pt>
                <c:pt idx="2">
                  <c:v>1.6344000000000001</c:v>
                </c:pt>
                <c:pt idx="3">
                  <c:v>2.4710000000000001</c:v>
                </c:pt>
                <c:pt idx="4">
                  <c:v>2.6836000000000002</c:v>
                </c:pt>
                <c:pt idx="5">
                  <c:v>1.8423</c:v>
                </c:pt>
              </c:numCache>
            </c:numRef>
          </c:xVal>
          <c:yVal>
            <c:numRef>
              <c:f>Sheet1!$B$2:$B$7</c:f>
              <c:numCache>
                <c:formatCode>General</c:formatCode>
                <c:ptCount val="6"/>
                <c:pt idx="0">
                  <c:v>1.0940000000000001</c:v>
                </c:pt>
                <c:pt idx="1">
                  <c:v>0.96</c:v>
                </c:pt>
                <c:pt idx="2">
                  <c:v>0.69299999999999995</c:v>
                </c:pt>
                <c:pt idx="3">
                  <c:v>1.3120000000000001</c:v>
                </c:pt>
                <c:pt idx="4">
                  <c:v>1.0009999999999999</c:v>
                </c:pt>
                <c:pt idx="5">
                  <c:v>1.105</c:v>
                </c:pt>
              </c:numCache>
            </c:numRef>
          </c:yVal>
          <c:bubbleSize>
            <c:numRef>
              <c:f>Sheet1!$C$2:$C$7</c:f>
              <c:numCache>
                <c:formatCode>General</c:formatCode>
                <c:ptCount val="6"/>
                <c:pt idx="0">
                  <c:v>14488211</c:v>
                </c:pt>
                <c:pt idx="1">
                  <c:v>4809021</c:v>
                </c:pt>
                <c:pt idx="2">
                  <c:v>3845963</c:v>
                </c:pt>
                <c:pt idx="3">
                  <c:v>3342792</c:v>
                </c:pt>
                <c:pt idx="4">
                  <c:v>2100704</c:v>
                </c:pt>
                <c:pt idx="5">
                  <c:v>606630</c:v>
                </c:pt>
              </c:numCache>
            </c:numRef>
          </c:bubbleSize>
          <c:bubble3D val="0"/>
          <c:extLst>
            <c:ext xmlns:c15="http://schemas.microsoft.com/office/drawing/2012/chart" uri="{02D57815-91ED-43cb-92C2-25804820EDAC}">
              <c15:datalabelsRange>
                <c15:f>Sheet1!$E$2:$E$10</c15:f>
                <c15:dlblRangeCache>
                  <c:ptCount val="9"/>
                  <c:pt idx="0">
                    <c:v>Savencia</c:v>
                  </c:pt>
                  <c:pt idx="1">
                    <c:v>Laita</c:v>
                  </c:pt>
                  <c:pt idx="2">
                    <c:v>Mdd</c:v>
                  </c:pt>
                  <c:pt idx="3">
                    <c:v>Bel</c:v>
                  </c:pt>
                  <c:pt idx="4">
                    <c:v>Mondelez</c:v>
                  </c:pt>
                  <c:pt idx="5">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D27FFA-7543-44C7-AD4E-64D53F42E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3001AE-8542-41D7-9FD5-344826B74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932282-257E-4B63-8243-68940F627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D7F6F9-7C6C-4CC4-82E7-98FAC09BC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F317C5-A204-4CA4-A96B-62250279B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A06C41A-BCD4-40E8-95A9-FA9C9B6B4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FB3B2EF-6FB0-43C7-9203-8B9EEAC98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FFA0668-EA33-4A00-AE41-7E8E45F4C5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397999999999998</c:v>
                </c:pt>
                <c:pt idx="1">
                  <c:v>2.4401999999999999</c:v>
                </c:pt>
                <c:pt idx="2">
                  <c:v>1.3731</c:v>
                </c:pt>
                <c:pt idx="3">
                  <c:v>2.5295000000000001</c:v>
                </c:pt>
                <c:pt idx="4">
                  <c:v>2.4830000000000001</c:v>
                </c:pt>
              </c:numCache>
            </c:numRef>
          </c:xVal>
          <c:yVal>
            <c:numRef>
              <c:f>Sheet1!$B$2:$B$6</c:f>
              <c:numCache>
                <c:formatCode>General</c:formatCode>
                <c:ptCount val="5"/>
                <c:pt idx="0">
                  <c:v>1.079</c:v>
                </c:pt>
                <c:pt idx="1">
                  <c:v>0.96299999999999997</c:v>
                </c:pt>
                <c:pt idx="2">
                  <c:v>0.67600000000000005</c:v>
                </c:pt>
                <c:pt idx="3">
                  <c:v>1.3320000000000001</c:v>
                </c:pt>
                <c:pt idx="4">
                  <c:v>0.98599999999999999</c:v>
                </c:pt>
              </c:numCache>
            </c:numRef>
          </c:yVal>
          <c:bubbleSize>
            <c:numRef>
              <c:f>Sheet1!$C$2:$C$6</c:f>
              <c:numCache>
                <c:formatCode>General</c:formatCode>
                <c:ptCount val="5"/>
                <c:pt idx="0">
                  <c:v>13711807</c:v>
                </c:pt>
                <c:pt idx="1">
                  <c:v>3679488</c:v>
                </c:pt>
                <c:pt idx="2">
                  <c:v>3677885</c:v>
                </c:pt>
                <c:pt idx="3">
                  <c:v>3642925</c:v>
                </c:pt>
                <c:pt idx="4">
                  <c:v>911380</c:v>
                </c:pt>
              </c:numCache>
            </c:numRef>
          </c:bubbleSize>
          <c:bubble3D val="0"/>
          <c:extLst>
            <c:ext xmlns:c15="http://schemas.microsoft.com/office/drawing/2012/chart" uri="{02D57815-91ED-43cb-92C2-25804820EDAC}">
              <c15:datalabelsRange>
                <c15:f>Sheet1!$E$2:$E$10</c15:f>
                <c15:dlblRangeCache>
                  <c:ptCount val="9"/>
                  <c:pt idx="0">
                    <c:v>Savencia</c:v>
                  </c:pt>
                  <c:pt idx="1">
                    <c:v>Laita</c:v>
                  </c:pt>
                  <c:pt idx="2">
                    <c:v>Mdd</c:v>
                  </c:pt>
                  <c:pt idx="3">
                    <c:v>Bel</c:v>
                  </c:pt>
                  <c:pt idx="4">
                    <c:v>Mondele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A7850A-D57A-4F5A-B107-B209CC2E9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DA61C3-E0D6-4F8F-AC12-B6F7B445C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D29EA5-AC7B-46FE-BAAE-0FCA332C50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F3096E-8B2E-44D2-8B3F-83C088F6C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9B259C9-4A3F-4C9D-90FC-7DEBF38AA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C1589C1-61A6-4A1A-BAEF-E8AAD5AAA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0206CF8-3742-4CC6-82B1-88483D4BEA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3FA8118-B88F-4D41-B752-E6C1E82E59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9581999999999999</c:v>
                </c:pt>
                <c:pt idx="1">
                  <c:v>2.5396999999999998</c:v>
                </c:pt>
                <c:pt idx="2">
                  <c:v>2.4697</c:v>
                </c:pt>
                <c:pt idx="3">
                  <c:v>2.7305000000000001</c:v>
                </c:pt>
                <c:pt idx="4">
                  <c:v>2.2523</c:v>
                </c:pt>
              </c:numCache>
            </c:numRef>
          </c:xVal>
          <c:yVal>
            <c:numRef>
              <c:f>Sheet1!$B$2:$B$6</c:f>
              <c:numCache>
                <c:formatCode>General</c:formatCode>
                <c:ptCount val="5"/>
                <c:pt idx="0">
                  <c:v>0.89300000000000002</c:v>
                </c:pt>
                <c:pt idx="1">
                  <c:v>1.038</c:v>
                </c:pt>
                <c:pt idx="2">
                  <c:v>1.177</c:v>
                </c:pt>
                <c:pt idx="3">
                  <c:v>1.427</c:v>
                </c:pt>
                <c:pt idx="4">
                  <c:v>1.472</c:v>
                </c:pt>
              </c:numCache>
            </c:numRef>
          </c:yVal>
          <c:bubbleSize>
            <c:numRef>
              <c:f>Sheet1!$C$2:$C$6</c:f>
              <c:numCache>
                <c:formatCode>General</c:formatCode>
                <c:ptCount val="5"/>
                <c:pt idx="0">
                  <c:v>254514232</c:v>
                </c:pt>
                <c:pt idx="1">
                  <c:v>90931649</c:v>
                </c:pt>
                <c:pt idx="2">
                  <c:v>41232866</c:v>
                </c:pt>
                <c:pt idx="3">
                  <c:v>9755885</c:v>
                </c:pt>
                <c:pt idx="4">
                  <c:v>4718125</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Casa Azzurra</c:v>
                  </c:pt>
                  <c:pt idx="3">
                    <c:v>Savencia</c:v>
                  </c:pt>
                  <c:pt idx="4">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7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78AE95-899C-40F3-86F3-3BFC99F1F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F1CFF4-D40D-4F9E-9713-9ECB83F3D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5844C5-D0BE-4F85-BB0C-32E414C9C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484942-F5EC-4786-8702-68298F092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FB07BA-EFB2-40F8-B102-CFC88A4D5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7466BA4-FB9C-442D-B0E8-61390397A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751376E-61C4-463D-B01E-D5286F0156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FEF7ADC-31E0-4D27-A328-4F581AB10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1492</c:v>
                </c:pt>
                <c:pt idx="1">
                  <c:v>2.5594000000000001</c:v>
                </c:pt>
                <c:pt idx="2">
                  <c:v>2.6497000000000002</c:v>
                </c:pt>
                <c:pt idx="3">
                  <c:v>2.6737000000000002</c:v>
                </c:pt>
                <c:pt idx="4">
                  <c:v>2.1617000000000002</c:v>
                </c:pt>
              </c:numCache>
            </c:numRef>
          </c:xVal>
          <c:yVal>
            <c:numRef>
              <c:f>Sheet1!$B$2:$B$6</c:f>
              <c:numCache>
                <c:formatCode>General</c:formatCode>
                <c:ptCount val="5"/>
                <c:pt idx="0">
                  <c:v>0.89800000000000002</c:v>
                </c:pt>
                <c:pt idx="1">
                  <c:v>0.97299999999999998</c:v>
                </c:pt>
                <c:pt idx="2">
                  <c:v>1.1850000000000001</c:v>
                </c:pt>
                <c:pt idx="3">
                  <c:v>1.29</c:v>
                </c:pt>
                <c:pt idx="4">
                  <c:v>1.304</c:v>
                </c:pt>
              </c:numCache>
            </c:numRef>
          </c:yVal>
          <c:bubbleSize>
            <c:numRef>
              <c:f>Sheet1!$C$2:$C$6</c:f>
              <c:numCache>
                <c:formatCode>General</c:formatCode>
                <c:ptCount val="5"/>
                <c:pt idx="0">
                  <c:v>41826347</c:v>
                </c:pt>
                <c:pt idx="1">
                  <c:v>14865379</c:v>
                </c:pt>
                <c:pt idx="2">
                  <c:v>7961029</c:v>
                </c:pt>
                <c:pt idx="3">
                  <c:v>1935509</c:v>
                </c:pt>
                <c:pt idx="4">
                  <c:v>1289340</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Casa Azzurra</c:v>
                  </c:pt>
                  <c:pt idx="3">
                    <c:v>Savencia</c:v>
                  </c:pt>
                  <c:pt idx="4">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1BF8DEB-3E61-4DF9-983D-6D423E942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81BEF25-172F-4389-947D-16A2315A2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405FC653-C89F-40B9-933E-1B5E67365F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C73E54AB-FB01-4568-9AAD-A4448ECBE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640D9E26-88F6-42C1-8A2B-C554ACB75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4F96265C-9398-40D2-AEC5-1595CEB73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7C204A9B-6C96-46D1-A7B1-510B2876BD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5FB8437C-9FF7-4985-9220-9D84F6B30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5875999999999999</c:v>
                </c:pt>
                <c:pt idx="1">
                  <c:v>2.0409000000000002</c:v>
                </c:pt>
                <c:pt idx="2">
                  <c:v>4.2450000000000001</c:v>
                </c:pt>
                <c:pt idx="3">
                  <c:v>3.7193999999999998</c:v>
                </c:pt>
                <c:pt idx="4">
                  <c:v>2.7090000000000001</c:v>
                </c:pt>
                <c:pt idx="5">
                  <c:v>1.2703</c:v>
                </c:pt>
              </c:numCache>
            </c:numRef>
          </c:xVal>
          <c:yVal>
            <c:numRef>
              <c:f>Sheet1!$B$2:$B$7</c:f>
              <c:numCache>
                <c:formatCode>General</c:formatCode>
                <c:ptCount val="6"/>
                <c:pt idx="0">
                  <c:v>0.84099999999999997</c:v>
                </c:pt>
                <c:pt idx="1">
                  <c:v>1.101</c:v>
                </c:pt>
                <c:pt idx="2">
                  <c:v>1.589</c:v>
                </c:pt>
                <c:pt idx="3">
                  <c:v>1.4470000000000001</c:v>
                </c:pt>
                <c:pt idx="4">
                  <c:v>1.462</c:v>
                </c:pt>
                <c:pt idx="5">
                  <c:v>0.86899999999999999</c:v>
                </c:pt>
              </c:numCache>
            </c:numRef>
          </c:yVal>
          <c:bubbleSize>
            <c:numRef>
              <c:f>Sheet1!$C$2:$C$7</c:f>
              <c:numCache>
                <c:formatCode>General</c:formatCode>
                <c:ptCount val="6"/>
                <c:pt idx="0">
                  <c:v>3832147</c:v>
                </c:pt>
                <c:pt idx="1">
                  <c:v>2828625</c:v>
                </c:pt>
                <c:pt idx="2">
                  <c:v>442886</c:v>
                </c:pt>
                <c:pt idx="3">
                  <c:v>266365</c:v>
                </c:pt>
                <c:pt idx="4">
                  <c:v>173582</c:v>
                </c:pt>
                <c:pt idx="5">
                  <c:v>47</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Raguin</c:v>
                  </c:pt>
                  <c:pt idx="4">
                    <c:v>Boursin</c:v>
                  </c:pt>
                  <c:pt idx="5">
                    <c:v>La Vache Qui Rit</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753E48-4FE8-4E10-AC14-467FCEB2E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4E45FF-5BDA-4D7B-A413-D4F6540D6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AC0613-A16E-4B7C-8211-D1743E34E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6284B18-E93F-47C0-BBF5-5DA0E83E4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642167D-2219-4630-B34E-FC33986C05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BE784C-FDA9-4581-93D3-8D2675A6C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F0AC30A-00AE-40DA-8D03-7979967567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5EA9FB8-34FB-496B-BA92-DF6FB4ED2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205000000000001</c:v>
                </c:pt>
                <c:pt idx="1">
                  <c:v>2.6160000000000001</c:v>
                </c:pt>
                <c:pt idx="2">
                  <c:v>2.4775999999999998</c:v>
                </c:pt>
                <c:pt idx="3">
                  <c:v>2.9125000000000001</c:v>
                </c:pt>
                <c:pt idx="4">
                  <c:v>3.3365999999999998</c:v>
                </c:pt>
                <c:pt idx="5">
                  <c:v>2.4173</c:v>
                </c:pt>
              </c:numCache>
            </c:numRef>
          </c:xVal>
          <c:yVal>
            <c:numRef>
              <c:f>Sheet1!$B$2:$B$7</c:f>
              <c:numCache>
                <c:formatCode>General</c:formatCode>
                <c:ptCount val="6"/>
                <c:pt idx="0">
                  <c:v>0.86799999999999999</c:v>
                </c:pt>
                <c:pt idx="1">
                  <c:v>1.0740000000000001</c:v>
                </c:pt>
                <c:pt idx="2">
                  <c:v>1.2310000000000001</c:v>
                </c:pt>
                <c:pt idx="3">
                  <c:v>1.5529999999999999</c:v>
                </c:pt>
                <c:pt idx="4">
                  <c:v>1.8260000000000001</c:v>
                </c:pt>
                <c:pt idx="5">
                  <c:v>1.615</c:v>
                </c:pt>
              </c:numCache>
            </c:numRef>
          </c:yVal>
          <c:bubbleSize>
            <c:numRef>
              <c:f>Sheet1!$C$2:$C$7</c:f>
              <c:numCache>
                <c:formatCode>General</c:formatCode>
                <c:ptCount val="6"/>
                <c:pt idx="0">
                  <c:v>28870053</c:v>
                </c:pt>
                <c:pt idx="1">
                  <c:v>16997250</c:v>
                </c:pt>
                <c:pt idx="2">
                  <c:v>3881891</c:v>
                </c:pt>
                <c:pt idx="3">
                  <c:v>1520505</c:v>
                </c:pt>
                <c:pt idx="4">
                  <c:v>836314</c:v>
                </c:pt>
                <c:pt idx="5">
                  <c:v>772136</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Casa Azzurra</c:v>
                  </c:pt>
                  <c:pt idx="3">
                    <c:v>Savencia</c:v>
                  </c:pt>
                  <c:pt idx="4">
                    <c:v>Les Mousquetaires</c:v>
                  </c:pt>
                  <c:pt idx="5">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26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D$2:$D$7</c:f>
              <c:numCache>
                <c:formatCode>General</c:formatCode>
                <c:ptCount val="6"/>
                <c:pt idx="0">
                  <c:v>450.4</c:v>
                </c:pt>
                <c:pt idx="1">
                  <c:v>4.7</c:v>
                </c:pt>
                <c:pt idx="2">
                  <c:v>174.8</c:v>
                </c:pt>
                <c:pt idx="3">
                  <c:v>17.600000000000001</c:v>
                </c:pt>
                <c:pt idx="4">
                  <c:v>137.19999999999999</c:v>
                </c:pt>
                <c:pt idx="5">
                  <c:v>1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01B2-476B-8B4C-7BE2E5C87E91}"/>
                </c:ext>
              </c:extLst>
            </c:dLbl>
            <c:dLbl>
              <c:idx val="5"/>
              <c:tx>
                <c:rich>
                  <a:bodyPr/>
                  <a:lstStyle/>
                  <a:p>
                    <a:r>
                      <a:t>1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01B2-476B-8B4C-7BE2E5C87E9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E$2:$E$7</c:f>
              <c:numCache>
                <c:formatCode>General</c:formatCode>
                <c:ptCount val="6"/>
                <c:pt idx="0">
                  <c:v>12.7555</c:v>
                </c:pt>
                <c:pt idx="1">
                  <c:v>18.772300000000001</c:v>
                </c:pt>
                <c:pt idx="2">
                  <c:v>11.113200000000001</c:v>
                </c:pt>
                <c:pt idx="3">
                  <c:v>15.264099999999999</c:v>
                </c:pt>
                <c:pt idx="4">
                  <c:v>12.121</c:v>
                </c:pt>
                <c:pt idx="5">
                  <c:v>13.0668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D$2:$D$7</c:f>
              <c:numCache>
                <c:formatCode>General</c:formatCode>
                <c:ptCount val="6"/>
                <c:pt idx="0">
                  <c:v>79.900000000000006</c:v>
                </c:pt>
                <c:pt idx="1">
                  <c:v>1.3</c:v>
                </c:pt>
                <c:pt idx="2">
                  <c:v>29.7</c:v>
                </c:pt>
                <c:pt idx="3">
                  <c:v>3.3</c:v>
                </c:pt>
                <c:pt idx="4">
                  <c:v>24.2</c:v>
                </c:pt>
                <c:pt idx="5">
                  <c:v>18.8999999999999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6D47-4480-914B-A58EAA8FAF6D}"/>
                </c:ext>
              </c:extLst>
            </c:dLbl>
            <c:dLbl>
              <c:idx val="5"/>
              <c:tx>
                <c:rich>
                  <a:bodyPr/>
                  <a:lstStyle/>
                  <a:p>
                    <a:r>
                      <a:t>12.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6D47-4480-914B-A58EAA8FAF6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E$2:$E$7</c:f>
              <c:numCache>
                <c:formatCode>General</c:formatCode>
                <c:ptCount val="6"/>
                <c:pt idx="0">
                  <c:v>13.827</c:v>
                </c:pt>
                <c:pt idx="1">
                  <c:v>18.035499999999999</c:v>
                </c:pt>
                <c:pt idx="2">
                  <c:v>12.0214</c:v>
                </c:pt>
                <c:pt idx="3">
                  <c:v>15.7705</c:v>
                </c:pt>
                <c:pt idx="4">
                  <c:v>12.568</c:v>
                </c:pt>
                <c:pt idx="5">
                  <c:v>12.583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D$2:$D$7</c:f>
              <c:numCache>
                <c:formatCode>General</c:formatCode>
                <c:ptCount val="6"/>
                <c:pt idx="0">
                  <c:v>56.2</c:v>
                </c:pt>
                <c:pt idx="1">
                  <c:v>0.8</c:v>
                </c:pt>
                <c:pt idx="2">
                  <c:v>25.7</c:v>
                </c:pt>
                <c:pt idx="3">
                  <c:v>3.6</c:v>
                </c:pt>
                <c:pt idx="4">
                  <c:v>19.5</c:v>
                </c:pt>
                <c:pt idx="5">
                  <c:v>14.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31C6-4F6D-8A04-C12C42E75607}"/>
                </c:ext>
              </c:extLst>
            </c:dLbl>
            <c:dLbl>
              <c:idx val="5"/>
              <c:tx>
                <c:rich>
                  <a:bodyPr/>
                  <a:lstStyle/>
                  <a:p>
                    <a:r>
                      <a:t>13.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31C6-4F6D-8A04-C12C42E7560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E$2:$E$7</c:f>
              <c:numCache>
                <c:formatCode>General</c:formatCode>
                <c:ptCount val="6"/>
                <c:pt idx="0">
                  <c:v>12.5101</c:v>
                </c:pt>
                <c:pt idx="1">
                  <c:v>20.2014</c:v>
                </c:pt>
                <c:pt idx="2">
                  <c:v>11.766500000000001</c:v>
                </c:pt>
                <c:pt idx="3">
                  <c:v>15.6707</c:v>
                </c:pt>
                <c:pt idx="4">
                  <c:v>12.8139</c:v>
                </c:pt>
                <c:pt idx="5">
                  <c:v>13.3579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D$2:$D$7</c:f>
              <c:numCache>
                <c:formatCode>General</c:formatCode>
                <c:ptCount val="6"/>
                <c:pt idx="0">
                  <c:v>450.4</c:v>
                </c:pt>
                <c:pt idx="1">
                  <c:v>0</c:v>
                </c:pt>
                <c:pt idx="2">
                  <c:v>174.8</c:v>
                </c:pt>
                <c:pt idx="3">
                  <c:v>1.3</c:v>
                </c:pt>
                <c:pt idx="4">
                  <c:v>137.19999999999999</c:v>
                </c:pt>
                <c:pt idx="5">
                  <c:v>2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6.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894-4119-8013-E50A09CB373D}"/>
                </c:ext>
              </c:extLst>
            </c:dLbl>
            <c:dLbl>
              <c:idx val="5"/>
              <c:tx>
                <c:rich>
                  <a:bodyPr/>
                  <a:lstStyle/>
                  <a:p>
                    <a:r>
                      <a:t>1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894-4119-8013-E50A09CB373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E$2:$E$7</c:f>
              <c:numCache>
                <c:formatCode>General</c:formatCode>
                <c:ptCount val="6"/>
                <c:pt idx="0">
                  <c:v>12.7555</c:v>
                </c:pt>
                <c:pt idx="1">
                  <c:v>0</c:v>
                </c:pt>
                <c:pt idx="2">
                  <c:v>11.113200000000001</c:v>
                </c:pt>
                <c:pt idx="3">
                  <c:v>16.765899999999998</c:v>
                </c:pt>
                <c:pt idx="4">
                  <c:v>12.121</c:v>
                </c:pt>
                <c:pt idx="5">
                  <c:v>12.9326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D$2:$D$7</c:f>
              <c:numCache>
                <c:formatCode>General</c:formatCode>
                <c:ptCount val="6"/>
                <c:pt idx="0">
                  <c:v>450.4</c:v>
                </c:pt>
                <c:pt idx="1">
                  <c:v>0</c:v>
                </c:pt>
                <c:pt idx="2">
                  <c:v>174.8</c:v>
                </c:pt>
                <c:pt idx="3">
                  <c:v>0</c:v>
                </c:pt>
                <c:pt idx="4">
                  <c:v>137.19999999999999</c:v>
                </c:pt>
                <c:pt idx="5">
                  <c:v>35.79999999999999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807-4D37-84B2-C066F4D7BB60}"/>
                </c:ext>
              </c:extLst>
            </c:dLbl>
            <c:dLbl>
              <c:idx val="5"/>
              <c:tx>
                <c:rich>
                  <a:bodyPr/>
                  <a:lstStyle/>
                  <a:p>
                    <a:r>
                      <a:t>10.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807-4D37-84B2-C066F4D7BB6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E$2:$E$7</c:f>
              <c:numCache>
                <c:formatCode>General</c:formatCode>
                <c:ptCount val="6"/>
                <c:pt idx="0">
                  <c:v>12.7555</c:v>
                </c:pt>
                <c:pt idx="1">
                  <c:v>0</c:v>
                </c:pt>
                <c:pt idx="2">
                  <c:v>11.113200000000001</c:v>
                </c:pt>
                <c:pt idx="3">
                  <c:v>13</c:v>
                </c:pt>
                <c:pt idx="4">
                  <c:v>12.121</c:v>
                </c:pt>
                <c:pt idx="5">
                  <c:v>10.5850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D$2:$D$7</c:f>
              <c:numCache>
                <c:formatCode>General</c:formatCode>
                <c:ptCount val="6"/>
                <c:pt idx="0">
                  <c:v>450.4</c:v>
                </c:pt>
                <c:pt idx="1">
                  <c:v>4.7</c:v>
                </c:pt>
                <c:pt idx="2">
                  <c:v>174.8</c:v>
                </c:pt>
                <c:pt idx="3">
                  <c:v>16.3</c:v>
                </c:pt>
                <c:pt idx="4">
                  <c:v>137.19999999999999</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128-426A-94B0-511EE1BC72D7}"/>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128-426A-94B0-511EE1BC72D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E$2:$E$7</c:f>
              <c:numCache>
                <c:formatCode>General</c:formatCode>
                <c:ptCount val="6"/>
                <c:pt idx="0">
                  <c:v>12.7555</c:v>
                </c:pt>
                <c:pt idx="1">
                  <c:v>18.772300000000001</c:v>
                </c:pt>
                <c:pt idx="2">
                  <c:v>11.113200000000001</c:v>
                </c:pt>
                <c:pt idx="3">
                  <c:v>15.1593</c:v>
                </c:pt>
                <c:pt idx="4">
                  <c:v>12.121</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D$2:$D$7</c:f>
              <c:numCache>
                <c:formatCode>General</c:formatCode>
                <c:ptCount val="6"/>
                <c:pt idx="0">
                  <c:v>79.900000000000006</c:v>
                </c:pt>
                <c:pt idx="1">
                  <c:v>0</c:v>
                </c:pt>
                <c:pt idx="2">
                  <c:v>29.7</c:v>
                </c:pt>
                <c:pt idx="3">
                  <c:v>0.3</c:v>
                </c:pt>
                <c:pt idx="4">
                  <c:v>24.2</c:v>
                </c:pt>
                <c:pt idx="5">
                  <c:v>5.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6.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8B42-47B2-9C27-FE3CAD5B4BFA}"/>
                </c:ext>
              </c:extLst>
            </c:dLbl>
            <c:dLbl>
              <c:idx val="5"/>
              <c:tx>
                <c:rich>
                  <a:bodyPr/>
                  <a:lstStyle/>
                  <a:p>
                    <a:r>
                      <a:t>1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B42-47B2-9C27-FE3CAD5B4BF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E$2:$E$7</c:f>
              <c:numCache>
                <c:formatCode>General</c:formatCode>
                <c:ptCount val="6"/>
                <c:pt idx="0">
                  <c:v>13.827</c:v>
                </c:pt>
                <c:pt idx="1">
                  <c:v>0</c:v>
                </c:pt>
                <c:pt idx="2">
                  <c:v>12.0214</c:v>
                </c:pt>
                <c:pt idx="3">
                  <c:v>16.921199999999999</c:v>
                </c:pt>
                <c:pt idx="4">
                  <c:v>12.568</c:v>
                </c:pt>
                <c:pt idx="5">
                  <c:v>12.311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D$2:$D$7</c:f>
              <c:numCache>
                <c:formatCode>General</c:formatCode>
                <c:ptCount val="6"/>
                <c:pt idx="0">
                  <c:v>79.900000000000006</c:v>
                </c:pt>
                <c:pt idx="1">
                  <c:v>0</c:v>
                </c:pt>
                <c:pt idx="2">
                  <c:v>29.7</c:v>
                </c:pt>
                <c:pt idx="3">
                  <c:v>0</c:v>
                </c:pt>
                <c:pt idx="4">
                  <c:v>24.2</c:v>
                </c:pt>
                <c:pt idx="5">
                  <c:v>6.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EB53-415E-B473-16D5241CD3C8}"/>
                </c:ext>
              </c:extLst>
            </c:dLbl>
            <c:dLbl>
              <c:idx val="5"/>
              <c:tx>
                <c:rich>
                  <a:bodyPr/>
                  <a:lstStyle/>
                  <a:p>
                    <a:r>
                      <a:t>10.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EB53-415E-B473-16D5241CD3C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E$2:$E$7</c:f>
              <c:numCache>
                <c:formatCode>General</c:formatCode>
                <c:ptCount val="6"/>
                <c:pt idx="0">
                  <c:v>13.827</c:v>
                </c:pt>
                <c:pt idx="1">
                  <c:v>0</c:v>
                </c:pt>
                <c:pt idx="2">
                  <c:v>12.0214</c:v>
                </c:pt>
                <c:pt idx="3">
                  <c:v>13</c:v>
                </c:pt>
                <c:pt idx="4">
                  <c:v>12.568</c:v>
                </c:pt>
                <c:pt idx="5">
                  <c:v>10.216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D$2:$D$7</c:f>
              <c:numCache>
                <c:formatCode>General</c:formatCode>
                <c:ptCount val="6"/>
                <c:pt idx="0">
                  <c:v>79.900000000000006</c:v>
                </c:pt>
                <c:pt idx="1">
                  <c:v>1.3</c:v>
                </c:pt>
                <c:pt idx="2">
                  <c:v>29.7</c:v>
                </c:pt>
                <c:pt idx="3">
                  <c:v>3</c:v>
                </c:pt>
                <c:pt idx="4">
                  <c:v>24.2</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48B5-4FC1-B518-3654EB99EDC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48B5-4FC1-B518-3654EB99EDC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E$2:$E$7</c:f>
              <c:numCache>
                <c:formatCode>General</c:formatCode>
                <c:ptCount val="6"/>
                <c:pt idx="0">
                  <c:v>13.827</c:v>
                </c:pt>
                <c:pt idx="1">
                  <c:v>18.035499999999999</c:v>
                </c:pt>
                <c:pt idx="2">
                  <c:v>12.0214</c:v>
                </c:pt>
                <c:pt idx="3">
                  <c:v>15.6629</c:v>
                </c:pt>
                <c:pt idx="4">
                  <c:v>12.568</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4D72BC-D9B0-4AD7-87BA-06FEE16AC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C35BCD-BEC3-4F3C-8E34-DC9FCAB13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FFF035-D745-4BC6-8462-07844EEF0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452449-DBAA-4A93-83CE-FC7A02C7B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4D9B7D-EB62-47FE-8D04-45E43BBBC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95841B5-342C-4BD2-89EA-1D14844445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E670FDB-E0DA-4351-B7A8-FA567BCEBA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10A2DA7-D156-4986-AA3F-B56F95AC5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53999999999998</c:v>
                </c:pt>
                <c:pt idx="1">
                  <c:v>2.4110999999999998</c:v>
                </c:pt>
                <c:pt idx="2">
                  <c:v>3.0028999999999999</c:v>
                </c:pt>
                <c:pt idx="3">
                  <c:v>2.3096999999999999</c:v>
                </c:pt>
                <c:pt idx="4">
                  <c:v>2.8786</c:v>
                </c:pt>
                <c:pt idx="5">
                  <c:v>3.2258</c:v>
                </c:pt>
                <c:pt idx="6">
                  <c:v>2.9295</c:v>
                </c:pt>
                <c:pt idx="7">
                  <c:v>2.3601000000000001</c:v>
                </c:pt>
              </c:numCache>
            </c:numRef>
          </c:xVal>
          <c:yVal>
            <c:numRef>
              <c:f>Sheet1!$B$2:$B$9</c:f>
              <c:numCache>
                <c:formatCode>General</c:formatCode>
                <c:ptCount val="8"/>
                <c:pt idx="0">
                  <c:v>0.88300000000000001</c:v>
                </c:pt>
                <c:pt idx="1">
                  <c:v>0.76100000000000001</c:v>
                </c:pt>
                <c:pt idx="2">
                  <c:v>1.079</c:v>
                </c:pt>
                <c:pt idx="3">
                  <c:v>1.073</c:v>
                </c:pt>
                <c:pt idx="4">
                  <c:v>1.0229999999999999</c:v>
                </c:pt>
                <c:pt idx="5">
                  <c:v>0.82099999999999995</c:v>
                </c:pt>
                <c:pt idx="6">
                  <c:v>1.0029999999999999</c:v>
                </c:pt>
                <c:pt idx="7">
                  <c:v>1.3089999999999999</c:v>
                </c:pt>
              </c:numCache>
            </c:numRef>
          </c:yVal>
          <c:bubbleSize>
            <c:numRef>
              <c:f>Sheet1!$C$2:$C$9</c:f>
              <c:numCache>
                <c:formatCode>General</c:formatCode>
                <c:ptCount val="8"/>
                <c:pt idx="0">
                  <c:v>77897599</c:v>
                </c:pt>
                <c:pt idx="1">
                  <c:v>9302551</c:v>
                </c:pt>
                <c:pt idx="2">
                  <c:v>8811592</c:v>
                </c:pt>
                <c:pt idx="3">
                  <c:v>8667367</c:v>
                </c:pt>
                <c:pt idx="4">
                  <c:v>8594536</c:v>
                </c:pt>
                <c:pt idx="5">
                  <c:v>6741136</c:v>
                </c:pt>
                <c:pt idx="6">
                  <c:v>5831683</c:v>
                </c:pt>
                <c:pt idx="7">
                  <c:v>432524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t Moret</c:v>
                  </c:pt>
                  <c:pt idx="3">
                    <c:v>Galbani</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D$2:$D$7</c:f>
              <c:numCache>
                <c:formatCode>General</c:formatCode>
                <c:ptCount val="6"/>
                <c:pt idx="0">
                  <c:v>56.2</c:v>
                </c:pt>
                <c:pt idx="1">
                  <c:v>0</c:v>
                </c:pt>
                <c:pt idx="2">
                  <c:v>25.7</c:v>
                </c:pt>
                <c:pt idx="3">
                  <c:v>0.2</c:v>
                </c:pt>
                <c:pt idx="4">
                  <c:v>19.5</c:v>
                </c:pt>
                <c:pt idx="5">
                  <c:v>4.599999999999999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9.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2C82-4C74-BA3B-7B0D42A2687F}"/>
                </c:ext>
              </c:extLst>
            </c:dLbl>
            <c:dLbl>
              <c:idx val="5"/>
              <c:tx>
                <c:rich>
                  <a:bodyPr/>
                  <a:lstStyle/>
                  <a:p>
                    <a:r>
                      <a:t>13.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2C82-4C74-BA3B-7B0D42A2687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E$2:$E$7</c:f>
              <c:numCache>
                <c:formatCode>General</c:formatCode>
                <c:ptCount val="6"/>
                <c:pt idx="0">
                  <c:v>12.5101</c:v>
                </c:pt>
                <c:pt idx="1">
                  <c:v>0</c:v>
                </c:pt>
                <c:pt idx="2">
                  <c:v>11.766500000000001</c:v>
                </c:pt>
                <c:pt idx="3">
                  <c:v>19.272300000000001</c:v>
                </c:pt>
                <c:pt idx="4">
                  <c:v>12.8139</c:v>
                </c:pt>
                <c:pt idx="5">
                  <c:v>13.1583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D$2:$D$7</c:f>
              <c:numCache>
                <c:formatCode>General</c:formatCode>
                <c:ptCount val="6"/>
                <c:pt idx="0">
                  <c:v>56.2</c:v>
                </c:pt>
                <c:pt idx="1">
                  <c:v>0</c:v>
                </c:pt>
                <c:pt idx="2">
                  <c:v>25.7</c:v>
                </c:pt>
                <c:pt idx="3">
                  <c:v>0</c:v>
                </c:pt>
                <c:pt idx="4">
                  <c:v>19.5</c:v>
                </c:pt>
                <c:pt idx="5">
                  <c:v>5.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BE0D-4E7C-AEF9-DA6E9DC19A3D}"/>
                </c:ext>
              </c:extLst>
            </c:dLbl>
            <c:dLbl>
              <c:idx val="5"/>
              <c:tx>
                <c:rich>
                  <a:bodyPr/>
                  <a:lstStyle/>
                  <a:p>
                    <a:r>
                      <a:t>1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E0D-4E7C-AEF9-DA6E9DC19A3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E$2:$E$7</c:f>
              <c:numCache>
                <c:formatCode>General</c:formatCode>
                <c:ptCount val="6"/>
                <c:pt idx="0">
                  <c:v>12.5101</c:v>
                </c:pt>
                <c:pt idx="1">
                  <c:v>0</c:v>
                </c:pt>
                <c:pt idx="2">
                  <c:v>11.766500000000001</c:v>
                </c:pt>
                <c:pt idx="3">
                  <c:v>0</c:v>
                </c:pt>
                <c:pt idx="4">
                  <c:v>12.8139</c:v>
                </c:pt>
                <c:pt idx="5">
                  <c:v>11.2734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D$2:$D$7</c:f>
              <c:numCache>
                <c:formatCode>General</c:formatCode>
                <c:ptCount val="6"/>
                <c:pt idx="0">
                  <c:v>56.2</c:v>
                </c:pt>
                <c:pt idx="1">
                  <c:v>0.8</c:v>
                </c:pt>
                <c:pt idx="2">
                  <c:v>25.7</c:v>
                </c:pt>
                <c:pt idx="3">
                  <c:v>3.5</c:v>
                </c:pt>
                <c:pt idx="4">
                  <c:v>19.5</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3967-4FE9-880F-6B5FE784196D}"/>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3967-4FE9-880F-6B5FE784196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E$2:$E$7</c:f>
              <c:numCache>
                <c:formatCode>General</c:formatCode>
                <c:ptCount val="6"/>
                <c:pt idx="0">
                  <c:v>12.5101</c:v>
                </c:pt>
                <c:pt idx="1">
                  <c:v>20.2014</c:v>
                </c:pt>
                <c:pt idx="2">
                  <c:v>11.766500000000001</c:v>
                </c:pt>
                <c:pt idx="3">
                  <c:v>15.525</c:v>
                </c:pt>
                <c:pt idx="4">
                  <c:v>12.8139</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CCA1-42E2-8776-748C93CF288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CCA1-42E2-8776-748C93CF288F}"/>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Aperitif</c:v>
                  </c:pt>
                  <c:pt idx="6">
                    <c:v>Bloc</c:v>
                  </c:pt>
                  <c:pt idx="8">
                    <c:v>Specialite</c:v>
                  </c:pt>
                </c:lvl>
              </c:multiLvlStrCache>
            </c:multiLvlStrRef>
          </c:cat>
          <c:val>
            <c:numRef>
              <c:f>Sheet1!$C$2:$C$11</c:f>
              <c:numCache>
                <c:formatCode>General</c:formatCode>
                <c:ptCount val="10"/>
                <c:pt idx="0">
                  <c:v>1301.3</c:v>
                </c:pt>
                <c:pt idx="1">
                  <c:v>29.3</c:v>
                </c:pt>
                <c:pt idx="2">
                  <c:v>59.5</c:v>
                </c:pt>
                <c:pt idx="3">
                  <c:v>0</c:v>
                </c:pt>
                <c:pt idx="4">
                  <c:v>54.7</c:v>
                </c:pt>
                <c:pt idx="5">
                  <c:v>0</c:v>
                </c:pt>
                <c:pt idx="6">
                  <c:v>40.299999999999997</c:v>
                </c:pt>
                <c:pt idx="7">
                  <c:v>0</c:v>
                </c:pt>
                <c:pt idx="8">
                  <c:v>27.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CA1-42E2-8776-748C93CF288F}"/>
                </c:ext>
              </c:extLst>
            </c:dLbl>
            <c:dLbl>
              <c:idx val="1"/>
              <c:tx>
                <c:rich>
                  <a:bodyPr/>
                  <a:lstStyle/>
                  <a:p>
                    <a:r>
                      <a:t>13.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CA1-42E2-8776-748C93CF288F}"/>
                </c:ext>
              </c:extLst>
            </c:dLbl>
            <c:dLbl>
              <c:idx val="2"/>
              <c:tx>
                <c:rich>
                  <a:bodyPr/>
                  <a:lstStyle/>
                  <a:p>
                    <a:r>
                      <a:t>10.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CA1-42E2-8776-748C93CF288F}"/>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CA1-42E2-8776-748C93CF288F}"/>
                </c:ext>
              </c:extLst>
            </c:dLbl>
            <c:dLbl>
              <c:idx val="4"/>
              <c:tx>
                <c:rich>
                  <a:bodyPr/>
                  <a:lstStyle/>
                  <a:p>
                    <a:r>
                      <a:t>19.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CCA1-42E2-8776-748C93CF288F}"/>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CCA1-42E2-8776-748C93CF288F}"/>
                </c:ext>
              </c:extLst>
            </c:dLbl>
            <c:dLbl>
              <c:idx val="6"/>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CCA1-42E2-8776-748C93CF288F}"/>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CCA1-42E2-8776-748C93CF288F}"/>
                </c:ext>
              </c:extLst>
            </c:dLbl>
            <c:dLbl>
              <c:idx val="8"/>
              <c:tx>
                <c:rich>
                  <a:bodyPr/>
                  <a:lstStyle/>
                  <a:p>
                    <a:r>
                      <a:t>1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CCA1-42E2-8776-748C93CF288F}"/>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CCA1-42E2-8776-748C93CF288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Aperitif</c:v>
                  </c:pt>
                  <c:pt idx="6">
                    <c:v>Bloc</c:v>
                  </c:pt>
                  <c:pt idx="8">
                    <c:v>Specialite</c:v>
                  </c:pt>
                </c:lvl>
              </c:multiLvlStrCache>
            </c:multiLvlStrRef>
          </c:cat>
          <c:val>
            <c:numRef>
              <c:f>Sheet1!$D$2:$D$11</c:f>
              <c:numCache>
                <c:formatCode>General</c:formatCode>
                <c:ptCount val="10"/>
                <c:pt idx="0">
                  <c:v>11.5603</c:v>
                </c:pt>
                <c:pt idx="1">
                  <c:v>13.0609</c:v>
                </c:pt>
                <c:pt idx="2">
                  <c:v>10.488300000000001</c:v>
                </c:pt>
                <c:pt idx="3">
                  <c:v>0</c:v>
                </c:pt>
                <c:pt idx="4">
                  <c:v>19.8611</c:v>
                </c:pt>
                <c:pt idx="5">
                  <c:v>0</c:v>
                </c:pt>
                <c:pt idx="6">
                  <c:v>12.74</c:v>
                </c:pt>
                <c:pt idx="7">
                  <c:v>0</c:v>
                </c:pt>
                <c:pt idx="8">
                  <c:v>11.55770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F2DA-41B6-931C-0C532ADFBB2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F2DA-41B6-931C-0C532ADFBB20}"/>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Aperitif</c:v>
                  </c:pt>
                  <c:pt idx="6">
                    <c:v>Bloc</c:v>
                  </c:pt>
                  <c:pt idx="8">
                    <c:v>Specialite</c:v>
                  </c:pt>
                </c:lvl>
              </c:multiLvlStrCache>
            </c:multiLvlStrRef>
          </c:cat>
          <c:val>
            <c:numRef>
              <c:f>Sheet1!$C$2:$C$11</c:f>
              <c:numCache>
                <c:formatCode>General</c:formatCode>
                <c:ptCount val="10"/>
                <c:pt idx="0">
                  <c:v>1301.3</c:v>
                </c:pt>
                <c:pt idx="1">
                  <c:v>35.799999999999997</c:v>
                </c:pt>
                <c:pt idx="2">
                  <c:v>59.5</c:v>
                </c:pt>
                <c:pt idx="3">
                  <c:v>0</c:v>
                </c:pt>
                <c:pt idx="4">
                  <c:v>54.7</c:v>
                </c:pt>
                <c:pt idx="5">
                  <c:v>0</c:v>
                </c:pt>
                <c:pt idx="6">
                  <c:v>40.299999999999997</c:v>
                </c:pt>
                <c:pt idx="7">
                  <c:v>0</c:v>
                </c:pt>
                <c:pt idx="8">
                  <c:v>27.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2DA-41B6-931C-0C532ADFBB20}"/>
                </c:ext>
              </c:extLst>
            </c:dLbl>
            <c:dLbl>
              <c:idx val="1"/>
              <c:tx>
                <c:rich>
                  <a:bodyPr/>
                  <a:lstStyle/>
                  <a:p>
                    <a:r>
                      <a:t>10.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2DA-41B6-931C-0C532ADFBB20}"/>
                </c:ext>
              </c:extLst>
            </c:dLbl>
            <c:dLbl>
              <c:idx val="2"/>
              <c:tx>
                <c:rich>
                  <a:bodyPr/>
                  <a:lstStyle/>
                  <a:p>
                    <a:r>
                      <a:t>10.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2DA-41B6-931C-0C532ADFBB20}"/>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2DA-41B6-931C-0C532ADFBB20}"/>
                </c:ext>
              </c:extLst>
            </c:dLbl>
            <c:dLbl>
              <c:idx val="4"/>
              <c:tx>
                <c:rich>
                  <a:bodyPr/>
                  <a:lstStyle/>
                  <a:p>
                    <a:r>
                      <a:t>19.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2DA-41B6-931C-0C532ADFBB2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2DA-41B6-931C-0C532ADFBB20}"/>
                </c:ext>
              </c:extLst>
            </c:dLbl>
            <c:dLbl>
              <c:idx val="6"/>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F2DA-41B6-931C-0C532ADFBB2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F2DA-41B6-931C-0C532ADFBB20}"/>
                </c:ext>
              </c:extLst>
            </c:dLbl>
            <c:dLbl>
              <c:idx val="8"/>
              <c:tx>
                <c:rich>
                  <a:bodyPr/>
                  <a:lstStyle/>
                  <a:p>
                    <a:r>
                      <a:t>1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F2DA-41B6-931C-0C532ADFBB2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F2DA-41B6-931C-0C532ADFBB2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Aperitif</c:v>
                  </c:pt>
                  <c:pt idx="6">
                    <c:v>Bloc</c:v>
                  </c:pt>
                  <c:pt idx="8">
                    <c:v>Specialite</c:v>
                  </c:pt>
                </c:lvl>
              </c:multiLvlStrCache>
            </c:multiLvlStrRef>
          </c:cat>
          <c:val>
            <c:numRef>
              <c:f>Sheet1!$D$2:$D$11</c:f>
              <c:numCache>
                <c:formatCode>General</c:formatCode>
                <c:ptCount val="10"/>
                <c:pt idx="0">
                  <c:v>11.5603</c:v>
                </c:pt>
                <c:pt idx="1">
                  <c:v>10.585000000000001</c:v>
                </c:pt>
                <c:pt idx="2">
                  <c:v>10.488300000000001</c:v>
                </c:pt>
                <c:pt idx="3">
                  <c:v>0</c:v>
                </c:pt>
                <c:pt idx="4">
                  <c:v>19.8611</c:v>
                </c:pt>
                <c:pt idx="5">
                  <c:v>0</c:v>
                </c:pt>
                <c:pt idx="6">
                  <c:v>12.74</c:v>
                </c:pt>
                <c:pt idx="7">
                  <c:v>0</c:v>
                </c:pt>
                <c:pt idx="8">
                  <c:v>11.55770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8F5-4187-AE51-0EA1D54D0AFB}"/>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28F5-4187-AE51-0EA1D54D0AFB}"/>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Aperitif</c:v>
                  </c:pt>
                  <c:pt idx="6">
                    <c:v>Bloc</c:v>
                  </c:pt>
                  <c:pt idx="8">
                    <c:v>Specialite</c:v>
                  </c:pt>
                </c:lvl>
              </c:multiLvlStrCache>
            </c:multiLvlStrRef>
          </c:cat>
          <c:val>
            <c:numRef>
              <c:f>Sheet1!$C$2:$C$11</c:f>
              <c:numCache>
                <c:formatCode>General</c:formatCode>
                <c:ptCount val="10"/>
                <c:pt idx="0">
                  <c:v>1301.3</c:v>
                </c:pt>
                <c:pt idx="1">
                  <c:v>21</c:v>
                </c:pt>
                <c:pt idx="2">
                  <c:v>59.5</c:v>
                </c:pt>
                <c:pt idx="3">
                  <c:v>0</c:v>
                </c:pt>
                <c:pt idx="4">
                  <c:v>54.7</c:v>
                </c:pt>
                <c:pt idx="5">
                  <c:v>4.8</c:v>
                </c:pt>
                <c:pt idx="6">
                  <c:v>40.299999999999997</c:v>
                </c:pt>
                <c:pt idx="7">
                  <c:v>0</c:v>
                </c:pt>
                <c:pt idx="8">
                  <c:v>27.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8F5-4187-AE51-0EA1D54D0AFB}"/>
                </c:ext>
              </c:extLst>
            </c:dLbl>
            <c:dLbl>
              <c:idx val="1"/>
              <c:tx>
                <c:rich>
                  <a:bodyPr/>
                  <a:lstStyle/>
                  <a:p>
                    <a:r>
                      <a:t>15.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8F5-4187-AE51-0EA1D54D0AFB}"/>
                </c:ext>
              </c:extLst>
            </c:dLbl>
            <c:dLbl>
              <c:idx val="2"/>
              <c:tx>
                <c:rich>
                  <a:bodyPr/>
                  <a:lstStyle/>
                  <a:p>
                    <a:r>
                      <a:t>10.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8F5-4187-AE51-0EA1D54D0AFB}"/>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8F5-4187-AE51-0EA1D54D0AFB}"/>
                </c:ext>
              </c:extLst>
            </c:dLbl>
            <c:dLbl>
              <c:idx val="4"/>
              <c:tx>
                <c:rich>
                  <a:bodyPr/>
                  <a:lstStyle/>
                  <a:p>
                    <a:r>
                      <a:t>19.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8F5-4187-AE51-0EA1D54D0AFB}"/>
                </c:ext>
              </c:extLst>
            </c:dLbl>
            <c:dLbl>
              <c:idx val="5"/>
              <c:tx>
                <c:rich>
                  <a:bodyPr/>
                  <a:lstStyle/>
                  <a:p>
                    <a:r>
                      <a:t>35.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8F5-4187-AE51-0EA1D54D0AFB}"/>
                </c:ext>
              </c:extLst>
            </c:dLbl>
            <c:dLbl>
              <c:idx val="6"/>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8F5-4187-AE51-0EA1D54D0AF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8F5-4187-AE51-0EA1D54D0AFB}"/>
                </c:ext>
              </c:extLst>
            </c:dLbl>
            <c:dLbl>
              <c:idx val="8"/>
              <c:tx>
                <c:rich>
                  <a:bodyPr/>
                  <a:lstStyle/>
                  <a:p>
                    <a:r>
                      <a:t>1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8F5-4187-AE51-0EA1D54D0AFB}"/>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8F5-4187-AE51-0EA1D54D0AF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Aperitif</c:v>
                  </c:pt>
                  <c:pt idx="6">
                    <c:v>Bloc</c:v>
                  </c:pt>
                  <c:pt idx="8">
                    <c:v>Specialite</c:v>
                  </c:pt>
                </c:lvl>
              </c:multiLvlStrCache>
            </c:multiLvlStrRef>
          </c:cat>
          <c:val>
            <c:numRef>
              <c:f>Sheet1!$D$2:$D$11</c:f>
              <c:numCache>
                <c:formatCode>General</c:formatCode>
                <c:ptCount val="10"/>
                <c:pt idx="0">
                  <c:v>11.5603</c:v>
                </c:pt>
                <c:pt idx="1">
                  <c:v>15.8439</c:v>
                </c:pt>
                <c:pt idx="2">
                  <c:v>10.488300000000001</c:v>
                </c:pt>
                <c:pt idx="3">
                  <c:v>0</c:v>
                </c:pt>
                <c:pt idx="4">
                  <c:v>19.8611</c:v>
                </c:pt>
                <c:pt idx="5">
                  <c:v>35.055900000000001</c:v>
                </c:pt>
                <c:pt idx="6">
                  <c:v>12.74</c:v>
                </c:pt>
                <c:pt idx="7">
                  <c:v>0</c:v>
                </c:pt>
                <c:pt idx="8">
                  <c:v>11.55770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Kiri</c:v>
                  </c:pt>
                  <c:pt idx="2">
                    <c:v>Total</c:v>
                  </c:pt>
                  <c:pt idx="3">
                    <c:v>Kiri</c:v>
                  </c:pt>
                </c:lvl>
                <c:lvl>
                  <c:pt idx="0">
                    <c:v>Soft Cheese</c:v>
                  </c:pt>
                  <c:pt idx="2">
                    <c:v>Aperitif</c:v>
                  </c:pt>
                </c:lvl>
              </c:multiLvlStrCache>
            </c:multiLvlStrRef>
          </c:cat>
          <c:val>
            <c:numRef>
              <c:f>Sheet1!$C$2:$C$5</c:f>
              <c:numCache>
                <c:formatCode>General</c:formatCode>
                <c:ptCount val="4"/>
                <c:pt idx="0">
                  <c:v>221.9</c:v>
                </c:pt>
                <c:pt idx="1">
                  <c:v>5.8</c:v>
                </c:pt>
                <c:pt idx="2">
                  <c:v>10.3</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D71-4976-9E2C-069C1DDCAABA}"/>
                </c:ext>
              </c:extLst>
            </c:dLbl>
            <c:dLbl>
              <c:idx val="1"/>
              <c:tx>
                <c:rich>
                  <a:bodyPr/>
                  <a:lstStyle/>
                  <a:p>
                    <a:r>
                      <a:t>12.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D71-4976-9E2C-069C1DDCAABA}"/>
                </c:ext>
              </c:extLst>
            </c:dLbl>
            <c:dLbl>
              <c:idx val="2"/>
              <c:tx>
                <c:rich>
                  <a:bodyPr/>
                  <a:lstStyle/>
                  <a:p>
                    <a:r>
                      <a:t>2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D71-4976-9E2C-069C1DDCAABA}"/>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D71-4976-9E2C-069C1DDCAAB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Kiri</c:v>
                  </c:pt>
                  <c:pt idx="2">
                    <c:v>Total</c:v>
                  </c:pt>
                  <c:pt idx="3">
                    <c:v>Kiri</c:v>
                  </c:pt>
                </c:lvl>
                <c:lvl>
                  <c:pt idx="0">
                    <c:v>Soft Cheese</c:v>
                  </c:pt>
                  <c:pt idx="2">
                    <c:v>Aperitif</c:v>
                  </c:pt>
                </c:lvl>
              </c:multiLvlStrCache>
            </c:multiLvlStrRef>
          </c:cat>
          <c:val>
            <c:numRef>
              <c:f>Sheet1!$D$2:$D$5</c:f>
              <c:numCache>
                <c:formatCode>General</c:formatCode>
                <c:ptCount val="4"/>
                <c:pt idx="0">
                  <c:v>12.4506</c:v>
                </c:pt>
                <c:pt idx="1">
                  <c:v>12.491099999999999</c:v>
                </c:pt>
                <c:pt idx="2">
                  <c:v>20.9879</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La Vache Qui Rit</c:v>
                  </c:pt>
                  <c:pt idx="2">
                    <c:v>Total</c:v>
                  </c:pt>
                  <c:pt idx="3">
                    <c:v>La Vache Qui Rit</c:v>
                  </c:pt>
                </c:lvl>
                <c:lvl>
                  <c:pt idx="0">
                    <c:v>Soft Cheese</c:v>
                  </c:pt>
                  <c:pt idx="2">
                    <c:v>Aperitif</c:v>
                  </c:pt>
                </c:lvl>
              </c:multiLvlStrCache>
            </c:multiLvlStrRef>
          </c:cat>
          <c:val>
            <c:numRef>
              <c:f>Sheet1!$C$2:$C$5</c:f>
              <c:numCache>
                <c:formatCode>General</c:formatCode>
                <c:ptCount val="4"/>
                <c:pt idx="0">
                  <c:v>221.9</c:v>
                </c:pt>
                <c:pt idx="1">
                  <c:v>6.7</c:v>
                </c:pt>
                <c:pt idx="2">
                  <c:v>10.3</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4AE-4BBE-8E4F-BFB7C3BBFBC8}"/>
                </c:ext>
              </c:extLst>
            </c:dLbl>
            <c:dLbl>
              <c:idx val="1"/>
              <c:tx>
                <c:rich>
                  <a:bodyPr/>
                  <a:lstStyle/>
                  <a:p>
                    <a:r>
                      <a:t>10.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4AE-4BBE-8E4F-BFB7C3BBFBC8}"/>
                </c:ext>
              </c:extLst>
            </c:dLbl>
            <c:dLbl>
              <c:idx val="2"/>
              <c:tx>
                <c:rich>
                  <a:bodyPr/>
                  <a:lstStyle/>
                  <a:p>
                    <a:r>
                      <a:t>2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4AE-4BBE-8E4F-BFB7C3BBFBC8}"/>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4AE-4BBE-8E4F-BFB7C3BBFBC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La Vache Qui Rit</c:v>
                  </c:pt>
                  <c:pt idx="2">
                    <c:v>Total</c:v>
                  </c:pt>
                  <c:pt idx="3">
                    <c:v>La Vache Qui Rit</c:v>
                  </c:pt>
                </c:lvl>
                <c:lvl>
                  <c:pt idx="0">
                    <c:v>Soft Cheese</c:v>
                  </c:pt>
                  <c:pt idx="2">
                    <c:v>Aperitif</c:v>
                  </c:pt>
                </c:lvl>
              </c:multiLvlStrCache>
            </c:multiLvlStrRef>
          </c:cat>
          <c:val>
            <c:numRef>
              <c:f>Sheet1!$D$2:$D$5</c:f>
              <c:numCache>
                <c:formatCode>General</c:formatCode>
                <c:ptCount val="4"/>
                <c:pt idx="0">
                  <c:v>12.4506</c:v>
                </c:pt>
                <c:pt idx="1">
                  <c:v>10.2166</c:v>
                </c:pt>
                <c:pt idx="2">
                  <c:v>20.9879</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oursin</c:v>
                  </c:pt>
                  <c:pt idx="2">
                    <c:v>Total</c:v>
                  </c:pt>
                  <c:pt idx="3">
                    <c:v>Boursin</c:v>
                  </c:pt>
                </c:lvl>
                <c:lvl>
                  <c:pt idx="0">
                    <c:v>Soft Cheese</c:v>
                  </c:pt>
                  <c:pt idx="2">
                    <c:v>Aperitif</c:v>
                  </c:pt>
                </c:lvl>
              </c:multiLvlStrCache>
            </c:multiLvlStrRef>
          </c:cat>
          <c:val>
            <c:numRef>
              <c:f>Sheet1!$C$2:$C$5</c:f>
              <c:numCache>
                <c:formatCode>General</c:formatCode>
                <c:ptCount val="4"/>
                <c:pt idx="0">
                  <c:v>221.9</c:v>
                </c:pt>
                <c:pt idx="1">
                  <c:v>4.3</c:v>
                </c:pt>
                <c:pt idx="2">
                  <c:v>10.3</c:v>
                </c:pt>
                <c:pt idx="3">
                  <c:v>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8AB1-45BD-AE04-0C6A618D4D7C}"/>
                </c:ext>
              </c:extLst>
            </c:dLbl>
            <c:dLbl>
              <c:idx val="1"/>
              <c:tx>
                <c:rich>
                  <a:bodyPr/>
                  <a:lstStyle/>
                  <a:p>
                    <a:r>
                      <a:t>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AB1-45BD-AE04-0C6A618D4D7C}"/>
                </c:ext>
              </c:extLst>
            </c:dLbl>
            <c:dLbl>
              <c:idx val="2"/>
              <c:tx>
                <c:rich>
                  <a:bodyPr/>
                  <a:lstStyle/>
                  <a:p>
                    <a:r>
                      <a:t>2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AB1-45BD-AE04-0C6A618D4D7C}"/>
                </c:ext>
              </c:extLst>
            </c:dLbl>
            <c:dLbl>
              <c:idx val="3"/>
              <c:tx>
                <c:rich>
                  <a:bodyPr/>
                  <a:lstStyle/>
                  <a:p>
                    <a:r>
                      <a:t>3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AB1-45BD-AE04-0C6A618D4D7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oursin</c:v>
                  </c:pt>
                  <c:pt idx="2">
                    <c:v>Total</c:v>
                  </c:pt>
                  <c:pt idx="3">
                    <c:v>Boursin</c:v>
                  </c:pt>
                </c:lvl>
                <c:lvl>
                  <c:pt idx="0">
                    <c:v>Soft Cheese</c:v>
                  </c:pt>
                  <c:pt idx="2">
                    <c:v>Aperitif</c:v>
                  </c:pt>
                </c:lvl>
              </c:multiLvlStrCache>
            </c:multiLvlStrRef>
          </c:cat>
          <c:val>
            <c:numRef>
              <c:f>Sheet1!$D$2:$D$5</c:f>
              <c:numCache>
                <c:formatCode>General</c:formatCode>
                <c:ptCount val="4"/>
                <c:pt idx="0">
                  <c:v>12.4506</c:v>
                </c:pt>
                <c:pt idx="1">
                  <c:v>16.302199999999999</c:v>
                </c:pt>
                <c:pt idx="2">
                  <c:v>20.9879</c:v>
                </c:pt>
                <c:pt idx="3">
                  <c:v>34.5985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769D-4F3C-8AE5-834A8BA5EEEA}"/>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769D-4F3C-8AE5-834A8BA5EEEA}"/>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Bloc</c:v>
                  </c:pt>
                  <c:pt idx="6">
                    <c:v>Specialite</c:v>
                  </c:pt>
                  <c:pt idx="8">
                    <c:v>Tranche A Froid</c:v>
                  </c:pt>
                </c:lvl>
              </c:multiLvlStrCache>
            </c:multiLvlStrRef>
          </c:cat>
          <c:val>
            <c:numRef>
              <c:f>Sheet1!$C$2:$C$11</c:f>
              <c:numCache>
                <c:formatCode>General</c:formatCode>
                <c:ptCount val="10"/>
                <c:pt idx="0">
                  <c:v>173.9</c:v>
                </c:pt>
                <c:pt idx="1">
                  <c:v>4.7</c:v>
                </c:pt>
                <c:pt idx="2">
                  <c:v>59.5</c:v>
                </c:pt>
                <c:pt idx="3">
                  <c:v>0</c:v>
                </c:pt>
                <c:pt idx="4">
                  <c:v>40.299999999999997</c:v>
                </c:pt>
                <c:pt idx="5">
                  <c:v>0</c:v>
                </c:pt>
                <c:pt idx="6">
                  <c:v>27.9</c:v>
                </c:pt>
                <c:pt idx="7">
                  <c:v>0</c:v>
                </c:pt>
                <c:pt idx="8">
                  <c:v>19.100000000000001</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69D-4F3C-8AE5-834A8BA5EEEA}"/>
                </c:ext>
              </c:extLst>
            </c:dLbl>
            <c:dLbl>
              <c:idx val="1"/>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69D-4F3C-8AE5-834A8BA5EEEA}"/>
                </c:ext>
              </c:extLst>
            </c:dLbl>
            <c:dLbl>
              <c:idx val="2"/>
              <c:tx>
                <c:rich>
                  <a:bodyPr/>
                  <a:lstStyle/>
                  <a:p>
                    <a:r>
                      <a:t>10.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69D-4F3C-8AE5-834A8BA5EEEA}"/>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69D-4F3C-8AE5-834A8BA5EEEA}"/>
                </c:ext>
              </c:extLst>
            </c:dLbl>
            <c:dLbl>
              <c:idx val="4"/>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69D-4F3C-8AE5-834A8BA5EEEA}"/>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69D-4F3C-8AE5-834A8BA5EEEA}"/>
                </c:ext>
              </c:extLst>
            </c:dLbl>
            <c:dLbl>
              <c:idx val="6"/>
              <c:tx>
                <c:rich>
                  <a:bodyPr/>
                  <a:lstStyle/>
                  <a:p>
                    <a:r>
                      <a:t>11.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69D-4F3C-8AE5-834A8BA5EEE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69D-4F3C-8AE5-834A8BA5EEEA}"/>
                </c:ext>
              </c:extLst>
            </c:dLbl>
            <c:dLbl>
              <c:idx val="8"/>
              <c:tx>
                <c:rich>
                  <a:bodyPr/>
                  <a:lstStyle/>
                  <a:p>
                    <a:r>
                      <a:t>12.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69D-4F3C-8AE5-834A8BA5EEEA}"/>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69D-4F3C-8AE5-834A8BA5EEE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Bloc</c:v>
                  </c:pt>
                  <c:pt idx="6">
                    <c:v>Specialite</c:v>
                  </c:pt>
                  <c:pt idx="8">
                    <c:v>Tranche A Froid</c:v>
                  </c:pt>
                </c:lvl>
              </c:multiLvlStrCache>
            </c:multiLvlStrRef>
          </c:cat>
          <c:val>
            <c:numRef>
              <c:f>Sheet1!$D$2:$D$11</c:f>
              <c:numCache>
                <c:formatCode>General</c:formatCode>
                <c:ptCount val="10"/>
                <c:pt idx="0">
                  <c:v>11.578200000000001</c:v>
                </c:pt>
                <c:pt idx="1">
                  <c:v>13.3132</c:v>
                </c:pt>
                <c:pt idx="2">
                  <c:v>10.4901</c:v>
                </c:pt>
                <c:pt idx="3">
                  <c:v>0</c:v>
                </c:pt>
                <c:pt idx="4">
                  <c:v>12.743600000000001</c:v>
                </c:pt>
                <c:pt idx="5">
                  <c:v>0</c:v>
                </c:pt>
                <c:pt idx="6">
                  <c:v>11.5665</c:v>
                </c:pt>
                <c:pt idx="7">
                  <c:v>0</c:v>
                </c:pt>
                <c:pt idx="8">
                  <c:v>12.15980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1D74A6C-D360-4EEA-8BEA-025D5E657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A1886BF-7D94-4DDA-96B6-145E6A1F50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7F45324-53C7-49F1-A9AD-25EC3D01A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2B626A3-0ACC-46D2-835C-AAABC431A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B2D7187-4554-45AB-8872-94F17C211C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6CB3EDC-0DAD-4D82-82CE-2A7AE138C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745D164E-873F-4731-9689-B430D8882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6DAA7377-BE26-47E1-8655-3A5BC7CAA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8580999999999999</c:v>
                </c:pt>
                <c:pt idx="1">
                  <c:v>2.1343000000000001</c:v>
                </c:pt>
                <c:pt idx="2">
                  <c:v>3.4523000000000001</c:v>
                </c:pt>
                <c:pt idx="3">
                  <c:v>3.1278999999999999</c:v>
                </c:pt>
                <c:pt idx="4">
                  <c:v>2.6861999999999999</c:v>
                </c:pt>
                <c:pt idx="5">
                  <c:v>5.2592999999999996</c:v>
                </c:pt>
                <c:pt idx="6">
                  <c:v>1.8669</c:v>
                </c:pt>
              </c:numCache>
            </c:numRef>
          </c:xVal>
          <c:yVal>
            <c:numRef>
              <c:f>Sheet1!$B$2:$B$8</c:f>
              <c:numCache>
                <c:formatCode>General</c:formatCode>
                <c:ptCount val="7"/>
                <c:pt idx="0">
                  <c:v>0.871</c:v>
                </c:pt>
                <c:pt idx="1">
                  <c:v>1.0189999999999999</c:v>
                </c:pt>
                <c:pt idx="2">
                  <c:v>1.6479999999999999</c:v>
                </c:pt>
                <c:pt idx="3">
                  <c:v>1.492</c:v>
                </c:pt>
                <c:pt idx="4">
                  <c:v>1.2849999999999999</c:v>
                </c:pt>
                <c:pt idx="5">
                  <c:v>1.585</c:v>
                </c:pt>
                <c:pt idx="6">
                  <c:v>1.9950000000000001</c:v>
                </c:pt>
              </c:numCache>
            </c:numRef>
          </c:yVal>
          <c:bubbleSize>
            <c:numRef>
              <c:f>Sheet1!$C$2:$C$8</c:f>
              <c:numCache>
                <c:formatCode>General</c:formatCode>
                <c:ptCount val="7"/>
                <c:pt idx="0">
                  <c:v>6113168</c:v>
                </c:pt>
                <c:pt idx="1">
                  <c:v>1692864</c:v>
                </c:pt>
                <c:pt idx="2">
                  <c:v>1030688</c:v>
                </c:pt>
                <c:pt idx="3">
                  <c:v>505315</c:v>
                </c:pt>
                <c:pt idx="4">
                  <c:v>349471</c:v>
                </c:pt>
                <c:pt idx="5">
                  <c:v>128289</c:v>
                </c:pt>
                <c:pt idx="6">
                  <c:v>121788</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pt idx="6">
                    <c:v>Leerdamm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5C95-4586-AD99-AE545182366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5C95-4586-AD99-AE5451823660}"/>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Bloc</c:v>
                  </c:pt>
                  <c:pt idx="6">
                    <c:v>Specialite</c:v>
                  </c:pt>
                  <c:pt idx="8">
                    <c:v>Tranche A Froid</c:v>
                  </c:pt>
                </c:lvl>
              </c:multiLvlStrCache>
            </c:multiLvlStrRef>
          </c:cat>
          <c:val>
            <c:numRef>
              <c:f>Sheet1!$C$2:$C$11</c:f>
              <c:numCache>
                <c:formatCode>General</c:formatCode>
                <c:ptCount val="10"/>
                <c:pt idx="0">
                  <c:v>173.9</c:v>
                </c:pt>
                <c:pt idx="1">
                  <c:v>5.7</c:v>
                </c:pt>
                <c:pt idx="2">
                  <c:v>59.5</c:v>
                </c:pt>
                <c:pt idx="3">
                  <c:v>0</c:v>
                </c:pt>
                <c:pt idx="4">
                  <c:v>40.299999999999997</c:v>
                </c:pt>
                <c:pt idx="5">
                  <c:v>0</c:v>
                </c:pt>
                <c:pt idx="6">
                  <c:v>27.9</c:v>
                </c:pt>
                <c:pt idx="7">
                  <c:v>0</c:v>
                </c:pt>
                <c:pt idx="8">
                  <c:v>19.100000000000001</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C95-4586-AD99-AE5451823660}"/>
                </c:ext>
              </c:extLst>
            </c:dLbl>
            <c:dLbl>
              <c:idx val="1"/>
              <c:tx>
                <c:rich>
                  <a:bodyPr/>
                  <a:lstStyle/>
                  <a:p>
                    <a:r>
                      <a:t>1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C95-4586-AD99-AE5451823660}"/>
                </c:ext>
              </c:extLst>
            </c:dLbl>
            <c:dLbl>
              <c:idx val="2"/>
              <c:tx>
                <c:rich>
                  <a:bodyPr/>
                  <a:lstStyle/>
                  <a:p>
                    <a:r>
                      <a:t>10.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C95-4586-AD99-AE5451823660}"/>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C95-4586-AD99-AE5451823660}"/>
                </c:ext>
              </c:extLst>
            </c:dLbl>
            <c:dLbl>
              <c:idx val="4"/>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5C95-4586-AD99-AE545182366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5C95-4586-AD99-AE5451823660}"/>
                </c:ext>
              </c:extLst>
            </c:dLbl>
            <c:dLbl>
              <c:idx val="6"/>
              <c:tx>
                <c:rich>
                  <a:bodyPr/>
                  <a:lstStyle/>
                  <a:p>
                    <a:r>
                      <a:t>11.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5C95-4586-AD99-AE545182366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5C95-4586-AD99-AE5451823660}"/>
                </c:ext>
              </c:extLst>
            </c:dLbl>
            <c:dLbl>
              <c:idx val="8"/>
              <c:tx>
                <c:rich>
                  <a:bodyPr/>
                  <a:lstStyle/>
                  <a:p>
                    <a:r>
                      <a:t>12.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5C95-4586-AD99-AE545182366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5C95-4586-AD99-AE545182366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Bloc</c:v>
                  </c:pt>
                  <c:pt idx="6">
                    <c:v>Specialite</c:v>
                  </c:pt>
                  <c:pt idx="8">
                    <c:v>Tranche A Froid</c:v>
                  </c:pt>
                </c:lvl>
              </c:multiLvlStrCache>
            </c:multiLvlStrRef>
          </c:cat>
          <c:val>
            <c:numRef>
              <c:f>Sheet1!$D$2:$D$11</c:f>
              <c:numCache>
                <c:formatCode>General</c:formatCode>
                <c:ptCount val="10"/>
                <c:pt idx="0">
                  <c:v>11.578200000000001</c:v>
                </c:pt>
                <c:pt idx="1">
                  <c:v>11.273400000000001</c:v>
                </c:pt>
                <c:pt idx="2">
                  <c:v>10.4901</c:v>
                </c:pt>
                <c:pt idx="3">
                  <c:v>0</c:v>
                </c:pt>
                <c:pt idx="4">
                  <c:v>12.743600000000001</c:v>
                </c:pt>
                <c:pt idx="5">
                  <c:v>0</c:v>
                </c:pt>
                <c:pt idx="6">
                  <c:v>11.5665</c:v>
                </c:pt>
                <c:pt idx="7">
                  <c:v>0</c:v>
                </c:pt>
                <c:pt idx="8">
                  <c:v>12.15980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F61C-459D-8396-EE64E469841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F61C-459D-8396-EE64E469841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Bloc</c:v>
                  </c:pt>
                  <c:pt idx="6">
                    <c:v>Specialite</c:v>
                  </c:pt>
                  <c:pt idx="8">
                    <c:v>Tranche A Froid</c:v>
                  </c:pt>
                </c:lvl>
              </c:multiLvlStrCache>
            </c:multiLvlStrRef>
          </c:cat>
          <c:val>
            <c:numRef>
              <c:f>Sheet1!$C$2:$C$11</c:f>
              <c:numCache>
                <c:formatCode>General</c:formatCode>
                <c:ptCount val="10"/>
                <c:pt idx="0">
                  <c:v>173.9</c:v>
                </c:pt>
                <c:pt idx="1">
                  <c:v>4.2</c:v>
                </c:pt>
                <c:pt idx="2">
                  <c:v>59.5</c:v>
                </c:pt>
                <c:pt idx="3">
                  <c:v>0</c:v>
                </c:pt>
                <c:pt idx="4">
                  <c:v>40.299999999999997</c:v>
                </c:pt>
                <c:pt idx="5">
                  <c:v>0</c:v>
                </c:pt>
                <c:pt idx="6">
                  <c:v>27.9</c:v>
                </c:pt>
                <c:pt idx="7">
                  <c:v>0</c:v>
                </c:pt>
                <c:pt idx="8">
                  <c:v>19.100000000000001</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61C-459D-8396-EE64E469841C}"/>
                </c:ext>
              </c:extLst>
            </c:dLbl>
            <c:dLbl>
              <c:idx val="1"/>
              <c:tx>
                <c:rich>
                  <a:bodyPr/>
                  <a:lstStyle/>
                  <a:p>
                    <a:r>
                      <a:t>16.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61C-459D-8396-EE64E469841C}"/>
                </c:ext>
              </c:extLst>
            </c:dLbl>
            <c:dLbl>
              <c:idx val="2"/>
              <c:tx>
                <c:rich>
                  <a:bodyPr/>
                  <a:lstStyle/>
                  <a:p>
                    <a:r>
                      <a:t>10.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61C-459D-8396-EE64E469841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61C-459D-8396-EE64E469841C}"/>
                </c:ext>
              </c:extLst>
            </c:dLbl>
            <c:dLbl>
              <c:idx val="4"/>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61C-459D-8396-EE64E469841C}"/>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61C-459D-8396-EE64E469841C}"/>
                </c:ext>
              </c:extLst>
            </c:dLbl>
            <c:dLbl>
              <c:idx val="6"/>
              <c:tx>
                <c:rich>
                  <a:bodyPr/>
                  <a:lstStyle/>
                  <a:p>
                    <a:r>
                      <a:t>11.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F61C-459D-8396-EE64E469841C}"/>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F61C-459D-8396-EE64E469841C}"/>
                </c:ext>
              </c:extLst>
            </c:dLbl>
            <c:dLbl>
              <c:idx val="8"/>
              <c:tx>
                <c:rich>
                  <a:bodyPr/>
                  <a:lstStyle/>
                  <a:p>
                    <a:r>
                      <a:t>12.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F61C-459D-8396-EE64E469841C}"/>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F61C-459D-8396-EE64E469841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Bloc</c:v>
                  </c:pt>
                  <c:pt idx="6">
                    <c:v>Specialite</c:v>
                  </c:pt>
                  <c:pt idx="8">
                    <c:v>Tranche A Froid</c:v>
                  </c:pt>
                </c:lvl>
              </c:multiLvlStrCache>
            </c:multiLvlStrRef>
          </c:cat>
          <c:val>
            <c:numRef>
              <c:f>Sheet1!$D$2:$D$11</c:f>
              <c:numCache>
                <c:formatCode>General</c:formatCode>
                <c:ptCount val="10"/>
                <c:pt idx="0">
                  <c:v>11.578200000000001</c:v>
                </c:pt>
                <c:pt idx="1">
                  <c:v>16.208100000000002</c:v>
                </c:pt>
                <c:pt idx="2">
                  <c:v>10.4901</c:v>
                </c:pt>
                <c:pt idx="3">
                  <c:v>0</c:v>
                </c:pt>
                <c:pt idx="4">
                  <c:v>12.743600000000001</c:v>
                </c:pt>
                <c:pt idx="5">
                  <c:v>0</c:v>
                </c:pt>
                <c:pt idx="6">
                  <c:v>11.5665</c:v>
                </c:pt>
                <c:pt idx="7">
                  <c:v>0</c:v>
                </c:pt>
                <c:pt idx="8">
                  <c:v>12.15980000000000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3546-4E05-9C87-4B96CB76DFC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3546-4E05-9C87-4B96CB76DFC7}"/>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alade</c:v>
                  </c:pt>
                  <c:pt idx="2">
                    <c:v>Classique</c:v>
                  </c:pt>
                  <c:pt idx="4">
                    <c:v>Chevre</c:v>
                  </c:pt>
                  <c:pt idx="6">
                    <c:v>Frais A Tartiner</c:v>
                  </c:pt>
                  <c:pt idx="8">
                    <c:v>Enfant</c:v>
                  </c:pt>
                </c:lvl>
              </c:multiLvlStrCache>
            </c:multiLvlStrRef>
          </c:cat>
          <c:val>
            <c:numRef>
              <c:f>Sheet1!$C$2:$C$11</c:f>
              <c:numCache>
                <c:formatCode>General</c:formatCode>
                <c:ptCount val="10"/>
                <c:pt idx="0">
                  <c:v>450.4</c:v>
                </c:pt>
                <c:pt idx="1">
                  <c:v>0</c:v>
                </c:pt>
                <c:pt idx="2">
                  <c:v>296.5</c:v>
                </c:pt>
                <c:pt idx="3">
                  <c:v>0</c:v>
                </c:pt>
                <c:pt idx="4">
                  <c:v>201.6</c:v>
                </c:pt>
                <c:pt idx="5">
                  <c:v>0</c:v>
                </c:pt>
                <c:pt idx="6">
                  <c:v>174.8</c:v>
                </c:pt>
                <c:pt idx="7">
                  <c:v>1.3</c:v>
                </c:pt>
                <c:pt idx="8">
                  <c:v>137.19999999999999</c:v>
                </c:pt>
                <c:pt idx="9">
                  <c:v>2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3546-4E05-9C87-4B96CB76DFC7}"/>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3546-4E05-9C87-4B96CB76DFC7}"/>
                </c:ext>
              </c:extLst>
            </c:dLbl>
            <c:dLbl>
              <c:idx val="2"/>
              <c:tx>
                <c:rich>
                  <a:bodyPr/>
                  <a:lstStyle/>
                  <a:p>
                    <a:r>
                      <a:t>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3546-4E05-9C87-4B96CB76DFC7}"/>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3546-4E05-9C87-4B96CB76DFC7}"/>
                </c:ext>
              </c:extLst>
            </c:dLbl>
            <c:dLbl>
              <c:idx val="4"/>
              <c:tx>
                <c:rich>
                  <a:bodyPr/>
                  <a:lstStyle/>
                  <a:p>
                    <a:r>
                      <a:t>1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3546-4E05-9C87-4B96CB76DFC7}"/>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3546-4E05-9C87-4B96CB76DFC7}"/>
                </c:ext>
              </c:extLst>
            </c:dLbl>
            <c:dLbl>
              <c:idx val="6"/>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3546-4E05-9C87-4B96CB76DFC7}"/>
                </c:ext>
              </c:extLst>
            </c:dLbl>
            <c:dLbl>
              <c:idx val="7"/>
              <c:tx>
                <c:rich>
                  <a:bodyPr/>
                  <a:lstStyle/>
                  <a:p>
                    <a:r>
                      <a:t>16.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3546-4E05-9C87-4B96CB76DFC7}"/>
                </c:ext>
              </c:extLst>
            </c:dLbl>
            <c:dLbl>
              <c:idx val="8"/>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3546-4E05-9C87-4B96CB76DFC7}"/>
                </c:ext>
              </c:extLst>
            </c:dLbl>
            <c:dLbl>
              <c:idx val="9"/>
              <c:tx>
                <c:rich>
                  <a:bodyPr/>
                  <a:lstStyle/>
                  <a:p>
                    <a:r>
                      <a:t>1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3546-4E05-9C87-4B96CB76DFC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alade</c:v>
                  </c:pt>
                  <c:pt idx="2">
                    <c:v>Classique</c:v>
                  </c:pt>
                  <c:pt idx="4">
                    <c:v>Chevre</c:v>
                  </c:pt>
                  <c:pt idx="6">
                    <c:v>Frais A Tartiner</c:v>
                  </c:pt>
                  <c:pt idx="8">
                    <c:v>Enfant</c:v>
                  </c:pt>
                </c:lvl>
              </c:multiLvlStrCache>
            </c:multiLvlStrRef>
          </c:cat>
          <c:val>
            <c:numRef>
              <c:f>Sheet1!$D$2:$D$11</c:f>
              <c:numCache>
                <c:formatCode>General</c:formatCode>
                <c:ptCount val="10"/>
                <c:pt idx="0">
                  <c:v>12.7555</c:v>
                </c:pt>
                <c:pt idx="1">
                  <c:v>0</c:v>
                </c:pt>
                <c:pt idx="2">
                  <c:v>8.9021000000000008</c:v>
                </c:pt>
                <c:pt idx="3">
                  <c:v>0</c:v>
                </c:pt>
                <c:pt idx="4">
                  <c:v>13.635400000000001</c:v>
                </c:pt>
                <c:pt idx="5">
                  <c:v>0</c:v>
                </c:pt>
                <c:pt idx="6">
                  <c:v>11.113200000000001</c:v>
                </c:pt>
                <c:pt idx="7">
                  <c:v>16.765899999999998</c:v>
                </c:pt>
                <c:pt idx="8">
                  <c:v>12.121</c:v>
                </c:pt>
                <c:pt idx="9">
                  <c:v>12.9326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9E20-4EDF-AC88-1C82A6245FD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9E20-4EDF-AC88-1C82A6245FD0}"/>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alade</c:v>
                  </c:pt>
                  <c:pt idx="2">
                    <c:v>Classique</c:v>
                  </c:pt>
                  <c:pt idx="4">
                    <c:v>Chevre</c:v>
                  </c:pt>
                  <c:pt idx="6">
                    <c:v>Frais A Tartiner</c:v>
                  </c:pt>
                  <c:pt idx="8">
                    <c:v>Enfant</c:v>
                  </c:pt>
                </c:lvl>
              </c:multiLvlStrCache>
            </c:multiLvlStrRef>
          </c:cat>
          <c:val>
            <c:numRef>
              <c:f>Sheet1!$C$2:$C$11</c:f>
              <c:numCache>
                <c:formatCode>General</c:formatCode>
                <c:ptCount val="10"/>
                <c:pt idx="0">
                  <c:v>450.4</c:v>
                </c:pt>
                <c:pt idx="1">
                  <c:v>0</c:v>
                </c:pt>
                <c:pt idx="2">
                  <c:v>296.5</c:v>
                </c:pt>
                <c:pt idx="3">
                  <c:v>0</c:v>
                </c:pt>
                <c:pt idx="4">
                  <c:v>201.6</c:v>
                </c:pt>
                <c:pt idx="5">
                  <c:v>0</c:v>
                </c:pt>
                <c:pt idx="6">
                  <c:v>174.8</c:v>
                </c:pt>
                <c:pt idx="7">
                  <c:v>0</c:v>
                </c:pt>
                <c:pt idx="8">
                  <c:v>137.19999999999999</c:v>
                </c:pt>
                <c:pt idx="9">
                  <c:v>35.79999999999999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E20-4EDF-AC88-1C82A6245FD0}"/>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E20-4EDF-AC88-1C82A6245FD0}"/>
                </c:ext>
              </c:extLst>
            </c:dLbl>
            <c:dLbl>
              <c:idx val="2"/>
              <c:tx>
                <c:rich>
                  <a:bodyPr/>
                  <a:lstStyle/>
                  <a:p>
                    <a:r>
                      <a:t>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E20-4EDF-AC88-1C82A6245FD0}"/>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E20-4EDF-AC88-1C82A6245FD0}"/>
                </c:ext>
              </c:extLst>
            </c:dLbl>
            <c:dLbl>
              <c:idx val="4"/>
              <c:tx>
                <c:rich>
                  <a:bodyPr/>
                  <a:lstStyle/>
                  <a:p>
                    <a:r>
                      <a:t>1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9E20-4EDF-AC88-1C82A6245FD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E20-4EDF-AC88-1C82A6245FD0}"/>
                </c:ext>
              </c:extLst>
            </c:dLbl>
            <c:dLbl>
              <c:idx val="6"/>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9E20-4EDF-AC88-1C82A6245FD0}"/>
                </c:ext>
              </c:extLst>
            </c:dLbl>
            <c:dLbl>
              <c:idx val="7"/>
              <c:tx>
                <c:rich>
                  <a:bodyPr/>
                  <a:lstStyle/>
                  <a:p>
                    <a:r>
                      <a:t>1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E20-4EDF-AC88-1C82A6245FD0}"/>
                </c:ext>
              </c:extLst>
            </c:dLbl>
            <c:dLbl>
              <c:idx val="8"/>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9E20-4EDF-AC88-1C82A6245FD0}"/>
                </c:ext>
              </c:extLst>
            </c:dLbl>
            <c:dLbl>
              <c:idx val="9"/>
              <c:tx>
                <c:rich>
                  <a:bodyPr/>
                  <a:lstStyle/>
                  <a:p>
                    <a:r>
                      <a:t>10.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E20-4EDF-AC88-1C82A6245FD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alade</c:v>
                  </c:pt>
                  <c:pt idx="2">
                    <c:v>Classique</c:v>
                  </c:pt>
                  <c:pt idx="4">
                    <c:v>Chevre</c:v>
                  </c:pt>
                  <c:pt idx="6">
                    <c:v>Frais A Tartiner</c:v>
                  </c:pt>
                  <c:pt idx="8">
                    <c:v>Enfant</c:v>
                  </c:pt>
                </c:lvl>
              </c:multiLvlStrCache>
            </c:multiLvlStrRef>
          </c:cat>
          <c:val>
            <c:numRef>
              <c:f>Sheet1!$D$2:$D$11</c:f>
              <c:numCache>
                <c:formatCode>General</c:formatCode>
                <c:ptCount val="10"/>
                <c:pt idx="0">
                  <c:v>12.7555</c:v>
                </c:pt>
                <c:pt idx="1">
                  <c:v>0</c:v>
                </c:pt>
                <c:pt idx="2">
                  <c:v>8.9021000000000008</c:v>
                </c:pt>
                <c:pt idx="3">
                  <c:v>0</c:v>
                </c:pt>
                <c:pt idx="4">
                  <c:v>13.635400000000001</c:v>
                </c:pt>
                <c:pt idx="5">
                  <c:v>0</c:v>
                </c:pt>
                <c:pt idx="6">
                  <c:v>11.113200000000001</c:v>
                </c:pt>
                <c:pt idx="7">
                  <c:v>13</c:v>
                </c:pt>
                <c:pt idx="8">
                  <c:v>12.121</c:v>
                </c:pt>
                <c:pt idx="9">
                  <c:v>10.5850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E3DC-407D-8614-91BA7DF3C5E6}"/>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E3DC-407D-8614-91BA7DF3C5E6}"/>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alade</c:v>
                  </c:pt>
                  <c:pt idx="2">
                    <c:v>Classique</c:v>
                  </c:pt>
                  <c:pt idx="4">
                    <c:v>Chevre</c:v>
                  </c:pt>
                  <c:pt idx="6">
                    <c:v>Frais A Tartiner</c:v>
                  </c:pt>
                  <c:pt idx="8">
                    <c:v>Enfant</c:v>
                  </c:pt>
                </c:lvl>
              </c:multiLvlStrCache>
            </c:multiLvlStrRef>
          </c:cat>
          <c:val>
            <c:numRef>
              <c:f>Sheet1!$C$2:$C$11</c:f>
              <c:numCache>
                <c:formatCode>General</c:formatCode>
                <c:ptCount val="10"/>
                <c:pt idx="0">
                  <c:v>450.4</c:v>
                </c:pt>
                <c:pt idx="1">
                  <c:v>4.7</c:v>
                </c:pt>
                <c:pt idx="2">
                  <c:v>296.5</c:v>
                </c:pt>
                <c:pt idx="3">
                  <c:v>0</c:v>
                </c:pt>
                <c:pt idx="4">
                  <c:v>201.6</c:v>
                </c:pt>
                <c:pt idx="5">
                  <c:v>0</c:v>
                </c:pt>
                <c:pt idx="6">
                  <c:v>174.8</c:v>
                </c:pt>
                <c:pt idx="7">
                  <c:v>16.3</c:v>
                </c:pt>
                <c:pt idx="8">
                  <c:v>137.1999999999999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E3DC-407D-8614-91BA7DF3C5E6}"/>
                </c:ext>
              </c:extLst>
            </c:dLbl>
            <c:dLbl>
              <c:idx val="1"/>
              <c:tx>
                <c:rich>
                  <a:bodyPr/>
                  <a:lstStyle/>
                  <a:p>
                    <a:r>
                      <a:t>18.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E3DC-407D-8614-91BA7DF3C5E6}"/>
                </c:ext>
              </c:extLst>
            </c:dLbl>
            <c:dLbl>
              <c:idx val="2"/>
              <c:tx>
                <c:rich>
                  <a:bodyPr/>
                  <a:lstStyle/>
                  <a:p>
                    <a:r>
                      <a:t>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E3DC-407D-8614-91BA7DF3C5E6}"/>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E3DC-407D-8614-91BA7DF3C5E6}"/>
                </c:ext>
              </c:extLst>
            </c:dLbl>
            <c:dLbl>
              <c:idx val="4"/>
              <c:tx>
                <c:rich>
                  <a:bodyPr/>
                  <a:lstStyle/>
                  <a:p>
                    <a:r>
                      <a:t>1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E3DC-407D-8614-91BA7DF3C5E6}"/>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E3DC-407D-8614-91BA7DF3C5E6}"/>
                </c:ext>
              </c:extLst>
            </c:dLbl>
            <c:dLbl>
              <c:idx val="6"/>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E3DC-407D-8614-91BA7DF3C5E6}"/>
                </c:ext>
              </c:extLst>
            </c:dLbl>
            <c:dLbl>
              <c:idx val="7"/>
              <c:tx>
                <c:rich>
                  <a:bodyPr/>
                  <a:lstStyle/>
                  <a:p>
                    <a:r>
                      <a:t>15.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E3DC-407D-8614-91BA7DF3C5E6}"/>
                </c:ext>
              </c:extLst>
            </c:dLbl>
            <c:dLbl>
              <c:idx val="8"/>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E3DC-407D-8614-91BA7DF3C5E6}"/>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E3DC-407D-8614-91BA7DF3C5E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alade</c:v>
                  </c:pt>
                  <c:pt idx="2">
                    <c:v>Classique</c:v>
                  </c:pt>
                  <c:pt idx="4">
                    <c:v>Chevre</c:v>
                  </c:pt>
                  <c:pt idx="6">
                    <c:v>Frais A Tartiner</c:v>
                  </c:pt>
                  <c:pt idx="8">
                    <c:v>Enfant</c:v>
                  </c:pt>
                </c:lvl>
              </c:multiLvlStrCache>
            </c:multiLvlStrRef>
          </c:cat>
          <c:val>
            <c:numRef>
              <c:f>Sheet1!$D$2:$D$11</c:f>
              <c:numCache>
                <c:formatCode>General</c:formatCode>
                <c:ptCount val="10"/>
                <c:pt idx="0">
                  <c:v>12.7555</c:v>
                </c:pt>
                <c:pt idx="1">
                  <c:v>18.772300000000001</c:v>
                </c:pt>
                <c:pt idx="2">
                  <c:v>8.9021000000000008</c:v>
                </c:pt>
                <c:pt idx="3">
                  <c:v>0</c:v>
                </c:pt>
                <c:pt idx="4">
                  <c:v>13.635400000000001</c:v>
                </c:pt>
                <c:pt idx="5">
                  <c:v>0</c:v>
                </c:pt>
                <c:pt idx="6">
                  <c:v>11.113200000000001</c:v>
                </c:pt>
                <c:pt idx="7">
                  <c:v>15.1593</c:v>
                </c:pt>
                <c:pt idx="8">
                  <c:v>12.12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7270-447F-A75F-1F1DA1B22879}"/>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7270-447F-A75F-1F1DA1B2287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alade</c:v>
                  </c:pt>
                  <c:pt idx="2">
                    <c:v>Classique</c:v>
                  </c:pt>
                  <c:pt idx="4">
                    <c:v>Chevre</c:v>
                  </c:pt>
                  <c:pt idx="6">
                    <c:v>Frais A Tartiner</c:v>
                  </c:pt>
                  <c:pt idx="8">
                    <c:v>Enfant</c:v>
                  </c:pt>
                </c:lvl>
              </c:multiLvlStrCache>
            </c:multiLvlStrRef>
          </c:cat>
          <c:val>
            <c:numRef>
              <c:f>Sheet1!$C$2:$C$11</c:f>
              <c:numCache>
                <c:formatCode>General</c:formatCode>
                <c:ptCount val="10"/>
                <c:pt idx="0">
                  <c:v>79.900000000000006</c:v>
                </c:pt>
                <c:pt idx="1">
                  <c:v>0</c:v>
                </c:pt>
                <c:pt idx="2">
                  <c:v>48.8</c:v>
                </c:pt>
                <c:pt idx="3">
                  <c:v>0</c:v>
                </c:pt>
                <c:pt idx="4">
                  <c:v>33</c:v>
                </c:pt>
                <c:pt idx="5">
                  <c:v>0</c:v>
                </c:pt>
                <c:pt idx="6">
                  <c:v>29.7</c:v>
                </c:pt>
                <c:pt idx="7">
                  <c:v>0.3</c:v>
                </c:pt>
                <c:pt idx="8">
                  <c:v>24.2</c:v>
                </c:pt>
                <c:pt idx="9">
                  <c:v>5.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270-447F-A75F-1F1DA1B22879}"/>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270-447F-A75F-1F1DA1B22879}"/>
                </c:ext>
              </c:extLst>
            </c:dLbl>
            <c:dLbl>
              <c:idx val="2"/>
              <c:tx>
                <c:rich>
                  <a:bodyPr/>
                  <a:lstStyle/>
                  <a:p>
                    <a:r>
                      <a:t>9.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270-447F-A75F-1F1DA1B22879}"/>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270-447F-A75F-1F1DA1B22879}"/>
                </c:ext>
              </c:extLst>
            </c:dLbl>
            <c:dLbl>
              <c:idx val="4"/>
              <c:tx>
                <c:rich>
                  <a:bodyPr/>
                  <a:lstStyle/>
                  <a:p>
                    <a:r>
                      <a:t>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270-447F-A75F-1F1DA1B2287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270-447F-A75F-1F1DA1B22879}"/>
                </c:ext>
              </c:extLst>
            </c:dLbl>
            <c:dLbl>
              <c:idx val="6"/>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270-447F-A75F-1F1DA1B22879}"/>
                </c:ext>
              </c:extLst>
            </c:dLbl>
            <c:dLbl>
              <c:idx val="7"/>
              <c:tx>
                <c:rich>
                  <a:bodyPr/>
                  <a:lstStyle/>
                  <a:p>
                    <a:r>
                      <a:t>16.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270-447F-A75F-1F1DA1B22879}"/>
                </c:ext>
              </c:extLst>
            </c:dLbl>
            <c:dLbl>
              <c:idx val="8"/>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270-447F-A75F-1F1DA1B22879}"/>
                </c:ext>
              </c:extLst>
            </c:dLbl>
            <c:dLbl>
              <c:idx val="9"/>
              <c:tx>
                <c:rich>
                  <a:bodyPr/>
                  <a:lstStyle/>
                  <a:p>
                    <a:r>
                      <a:t>1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270-447F-A75F-1F1DA1B2287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alade</c:v>
                  </c:pt>
                  <c:pt idx="2">
                    <c:v>Classique</c:v>
                  </c:pt>
                  <c:pt idx="4">
                    <c:v>Chevre</c:v>
                  </c:pt>
                  <c:pt idx="6">
                    <c:v>Frais A Tartiner</c:v>
                  </c:pt>
                  <c:pt idx="8">
                    <c:v>Enfant</c:v>
                  </c:pt>
                </c:lvl>
              </c:multiLvlStrCache>
            </c:multiLvlStrRef>
          </c:cat>
          <c:val>
            <c:numRef>
              <c:f>Sheet1!$D$2:$D$11</c:f>
              <c:numCache>
                <c:formatCode>General</c:formatCode>
                <c:ptCount val="10"/>
                <c:pt idx="0">
                  <c:v>13.827</c:v>
                </c:pt>
                <c:pt idx="1">
                  <c:v>0</c:v>
                </c:pt>
                <c:pt idx="2">
                  <c:v>9.4540000000000006</c:v>
                </c:pt>
                <c:pt idx="3">
                  <c:v>0</c:v>
                </c:pt>
                <c:pt idx="4">
                  <c:v>15.096</c:v>
                </c:pt>
                <c:pt idx="5">
                  <c:v>0</c:v>
                </c:pt>
                <c:pt idx="6">
                  <c:v>12.0214</c:v>
                </c:pt>
                <c:pt idx="7">
                  <c:v>16.921199999999999</c:v>
                </c:pt>
                <c:pt idx="8">
                  <c:v>12.568</c:v>
                </c:pt>
                <c:pt idx="9">
                  <c:v>12.311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619D-4250-A395-A2C49EEE8BCB}"/>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619D-4250-A395-A2C49EEE8BCB}"/>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alade</c:v>
                  </c:pt>
                  <c:pt idx="2">
                    <c:v>Classique</c:v>
                  </c:pt>
                  <c:pt idx="4">
                    <c:v>Chevre</c:v>
                  </c:pt>
                  <c:pt idx="6">
                    <c:v>Frais A Tartiner</c:v>
                  </c:pt>
                  <c:pt idx="8">
                    <c:v>Enfant</c:v>
                  </c:pt>
                </c:lvl>
              </c:multiLvlStrCache>
            </c:multiLvlStrRef>
          </c:cat>
          <c:val>
            <c:numRef>
              <c:f>Sheet1!$C$2:$C$11</c:f>
              <c:numCache>
                <c:formatCode>General</c:formatCode>
                <c:ptCount val="10"/>
                <c:pt idx="0">
                  <c:v>79.900000000000006</c:v>
                </c:pt>
                <c:pt idx="1">
                  <c:v>0</c:v>
                </c:pt>
                <c:pt idx="2">
                  <c:v>48.8</c:v>
                </c:pt>
                <c:pt idx="3">
                  <c:v>0</c:v>
                </c:pt>
                <c:pt idx="4">
                  <c:v>33</c:v>
                </c:pt>
                <c:pt idx="5">
                  <c:v>0</c:v>
                </c:pt>
                <c:pt idx="6">
                  <c:v>29.7</c:v>
                </c:pt>
                <c:pt idx="7">
                  <c:v>0</c:v>
                </c:pt>
                <c:pt idx="8">
                  <c:v>24.2</c:v>
                </c:pt>
                <c:pt idx="9">
                  <c:v>6.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19D-4250-A395-A2C49EEE8BCB}"/>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19D-4250-A395-A2C49EEE8BCB}"/>
                </c:ext>
              </c:extLst>
            </c:dLbl>
            <c:dLbl>
              <c:idx val="2"/>
              <c:tx>
                <c:rich>
                  <a:bodyPr/>
                  <a:lstStyle/>
                  <a:p>
                    <a:r>
                      <a:t>9.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19D-4250-A395-A2C49EEE8BCB}"/>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19D-4250-A395-A2C49EEE8BCB}"/>
                </c:ext>
              </c:extLst>
            </c:dLbl>
            <c:dLbl>
              <c:idx val="4"/>
              <c:tx>
                <c:rich>
                  <a:bodyPr/>
                  <a:lstStyle/>
                  <a:p>
                    <a:r>
                      <a:t>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619D-4250-A395-A2C49EEE8BCB}"/>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619D-4250-A395-A2C49EEE8BCB}"/>
                </c:ext>
              </c:extLst>
            </c:dLbl>
            <c:dLbl>
              <c:idx val="6"/>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619D-4250-A395-A2C49EEE8BCB}"/>
                </c:ext>
              </c:extLst>
            </c:dLbl>
            <c:dLbl>
              <c:idx val="7"/>
              <c:tx>
                <c:rich>
                  <a:bodyPr/>
                  <a:lstStyle/>
                  <a:p>
                    <a:r>
                      <a:t>1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619D-4250-A395-A2C49EEE8BCB}"/>
                </c:ext>
              </c:extLst>
            </c:dLbl>
            <c:dLbl>
              <c:idx val="8"/>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619D-4250-A395-A2C49EEE8BCB}"/>
                </c:ext>
              </c:extLst>
            </c:dLbl>
            <c:dLbl>
              <c:idx val="9"/>
              <c:tx>
                <c:rich>
                  <a:bodyPr/>
                  <a:lstStyle/>
                  <a:p>
                    <a:r>
                      <a:t>10.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619D-4250-A395-A2C49EEE8BC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alade</c:v>
                  </c:pt>
                  <c:pt idx="2">
                    <c:v>Classique</c:v>
                  </c:pt>
                  <c:pt idx="4">
                    <c:v>Chevre</c:v>
                  </c:pt>
                  <c:pt idx="6">
                    <c:v>Frais A Tartiner</c:v>
                  </c:pt>
                  <c:pt idx="8">
                    <c:v>Enfant</c:v>
                  </c:pt>
                </c:lvl>
              </c:multiLvlStrCache>
            </c:multiLvlStrRef>
          </c:cat>
          <c:val>
            <c:numRef>
              <c:f>Sheet1!$D$2:$D$11</c:f>
              <c:numCache>
                <c:formatCode>General</c:formatCode>
                <c:ptCount val="10"/>
                <c:pt idx="0">
                  <c:v>13.827</c:v>
                </c:pt>
                <c:pt idx="1">
                  <c:v>0</c:v>
                </c:pt>
                <c:pt idx="2">
                  <c:v>9.4540000000000006</c:v>
                </c:pt>
                <c:pt idx="3">
                  <c:v>0</c:v>
                </c:pt>
                <c:pt idx="4">
                  <c:v>15.096</c:v>
                </c:pt>
                <c:pt idx="5">
                  <c:v>0</c:v>
                </c:pt>
                <c:pt idx="6">
                  <c:v>12.0214</c:v>
                </c:pt>
                <c:pt idx="7">
                  <c:v>13</c:v>
                </c:pt>
                <c:pt idx="8">
                  <c:v>12.568</c:v>
                </c:pt>
                <c:pt idx="9">
                  <c:v>10.216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F196-4867-BDCF-4B39C554C0E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F196-4867-BDCF-4B39C554C0E0}"/>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alade</c:v>
                  </c:pt>
                  <c:pt idx="2">
                    <c:v>Classique</c:v>
                  </c:pt>
                  <c:pt idx="4">
                    <c:v>Chevre</c:v>
                  </c:pt>
                  <c:pt idx="6">
                    <c:v>Frais A Tartiner</c:v>
                  </c:pt>
                  <c:pt idx="8">
                    <c:v>Enfant</c:v>
                  </c:pt>
                </c:lvl>
              </c:multiLvlStrCache>
            </c:multiLvlStrRef>
          </c:cat>
          <c:val>
            <c:numRef>
              <c:f>Sheet1!$C$2:$C$11</c:f>
              <c:numCache>
                <c:formatCode>General</c:formatCode>
                <c:ptCount val="10"/>
                <c:pt idx="0">
                  <c:v>79.900000000000006</c:v>
                </c:pt>
                <c:pt idx="1">
                  <c:v>1.3</c:v>
                </c:pt>
                <c:pt idx="2">
                  <c:v>48.8</c:v>
                </c:pt>
                <c:pt idx="3">
                  <c:v>0</c:v>
                </c:pt>
                <c:pt idx="4">
                  <c:v>33</c:v>
                </c:pt>
                <c:pt idx="5">
                  <c:v>0</c:v>
                </c:pt>
                <c:pt idx="6">
                  <c:v>29.7</c:v>
                </c:pt>
                <c:pt idx="7">
                  <c:v>3</c:v>
                </c:pt>
                <c:pt idx="8">
                  <c:v>24.2</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196-4867-BDCF-4B39C554C0E0}"/>
                </c:ext>
              </c:extLst>
            </c:dLbl>
            <c:dLbl>
              <c:idx val="1"/>
              <c:tx>
                <c:rich>
                  <a:bodyPr/>
                  <a:lstStyle/>
                  <a:p>
                    <a:r>
                      <a:t>18.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196-4867-BDCF-4B39C554C0E0}"/>
                </c:ext>
              </c:extLst>
            </c:dLbl>
            <c:dLbl>
              <c:idx val="2"/>
              <c:tx>
                <c:rich>
                  <a:bodyPr/>
                  <a:lstStyle/>
                  <a:p>
                    <a:r>
                      <a:t>9.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196-4867-BDCF-4B39C554C0E0}"/>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196-4867-BDCF-4B39C554C0E0}"/>
                </c:ext>
              </c:extLst>
            </c:dLbl>
            <c:dLbl>
              <c:idx val="4"/>
              <c:tx>
                <c:rich>
                  <a:bodyPr/>
                  <a:lstStyle/>
                  <a:p>
                    <a:r>
                      <a:t>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196-4867-BDCF-4B39C554C0E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196-4867-BDCF-4B39C554C0E0}"/>
                </c:ext>
              </c:extLst>
            </c:dLbl>
            <c:dLbl>
              <c:idx val="6"/>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F196-4867-BDCF-4B39C554C0E0}"/>
                </c:ext>
              </c:extLst>
            </c:dLbl>
            <c:dLbl>
              <c:idx val="7"/>
              <c:tx>
                <c:rich>
                  <a:bodyPr/>
                  <a:lstStyle/>
                  <a:p>
                    <a:r>
                      <a:t>15.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F196-4867-BDCF-4B39C554C0E0}"/>
                </c:ext>
              </c:extLst>
            </c:dLbl>
            <c:dLbl>
              <c:idx val="8"/>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F196-4867-BDCF-4B39C554C0E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F196-4867-BDCF-4B39C554C0E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alade</c:v>
                  </c:pt>
                  <c:pt idx="2">
                    <c:v>Classique</c:v>
                  </c:pt>
                  <c:pt idx="4">
                    <c:v>Chevre</c:v>
                  </c:pt>
                  <c:pt idx="6">
                    <c:v>Frais A Tartiner</c:v>
                  </c:pt>
                  <c:pt idx="8">
                    <c:v>Enfant</c:v>
                  </c:pt>
                </c:lvl>
              </c:multiLvlStrCache>
            </c:multiLvlStrRef>
          </c:cat>
          <c:val>
            <c:numRef>
              <c:f>Sheet1!$D$2:$D$11</c:f>
              <c:numCache>
                <c:formatCode>General</c:formatCode>
                <c:ptCount val="10"/>
                <c:pt idx="0">
                  <c:v>13.827</c:v>
                </c:pt>
                <c:pt idx="1">
                  <c:v>18.035499999999999</c:v>
                </c:pt>
                <c:pt idx="2">
                  <c:v>9.4540000000000006</c:v>
                </c:pt>
                <c:pt idx="3">
                  <c:v>0</c:v>
                </c:pt>
                <c:pt idx="4">
                  <c:v>15.096</c:v>
                </c:pt>
                <c:pt idx="5">
                  <c:v>0</c:v>
                </c:pt>
                <c:pt idx="6">
                  <c:v>12.0214</c:v>
                </c:pt>
                <c:pt idx="7">
                  <c:v>15.6629</c:v>
                </c:pt>
                <c:pt idx="8">
                  <c:v>12.568</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9CFF-4D74-8AE7-DBD3C5FAD1E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9CFF-4D74-8AE7-DBD3C5FAD1E7}"/>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Rape</c:v>
                  </c:pt>
                  <c:pt idx="2">
                    <c:v>Salade</c:v>
                  </c:pt>
                  <c:pt idx="4">
                    <c:v>Classique</c:v>
                  </c:pt>
                  <c:pt idx="6">
                    <c:v>Bloc</c:v>
                  </c:pt>
                  <c:pt idx="8">
                    <c:v>Specialite</c:v>
                  </c:pt>
                </c:lvl>
              </c:multiLvlStrCache>
            </c:multiLvlStrRef>
          </c:cat>
          <c:val>
            <c:numRef>
              <c:f>Sheet1!$C$2:$C$11</c:f>
              <c:numCache>
                <c:formatCode>General</c:formatCode>
                <c:ptCount val="10"/>
                <c:pt idx="0">
                  <c:v>59.5</c:v>
                </c:pt>
                <c:pt idx="1">
                  <c:v>0</c:v>
                </c:pt>
                <c:pt idx="2">
                  <c:v>56.2</c:v>
                </c:pt>
                <c:pt idx="3">
                  <c:v>0</c:v>
                </c:pt>
                <c:pt idx="4">
                  <c:v>41.5</c:v>
                </c:pt>
                <c:pt idx="5">
                  <c:v>0</c:v>
                </c:pt>
                <c:pt idx="6">
                  <c:v>40.299999999999997</c:v>
                </c:pt>
                <c:pt idx="7">
                  <c:v>0</c:v>
                </c:pt>
                <c:pt idx="8">
                  <c:v>27.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CFF-4D74-8AE7-DBD3C5FAD1E7}"/>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CFF-4D74-8AE7-DBD3C5FAD1E7}"/>
                </c:ext>
              </c:extLst>
            </c:dLbl>
            <c:dLbl>
              <c:idx val="2"/>
              <c:tx>
                <c:rich>
                  <a:bodyPr/>
                  <a:lstStyle/>
                  <a:p>
                    <a:r>
                      <a:t>1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CFF-4D74-8AE7-DBD3C5FAD1E7}"/>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CFF-4D74-8AE7-DBD3C5FAD1E7}"/>
                </c:ext>
              </c:extLst>
            </c:dLbl>
            <c:dLbl>
              <c:idx val="4"/>
              <c:tx>
                <c:rich>
                  <a:bodyPr/>
                  <a:lstStyle/>
                  <a:p>
                    <a:r>
                      <a:t>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9CFF-4D74-8AE7-DBD3C5FAD1E7}"/>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CFF-4D74-8AE7-DBD3C5FAD1E7}"/>
                </c:ext>
              </c:extLst>
            </c:dLbl>
            <c:dLbl>
              <c:idx val="6"/>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9CFF-4D74-8AE7-DBD3C5FAD1E7}"/>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CFF-4D74-8AE7-DBD3C5FAD1E7}"/>
                </c:ext>
              </c:extLst>
            </c:dLbl>
            <c:dLbl>
              <c:idx val="8"/>
              <c:tx>
                <c:rich>
                  <a:bodyPr/>
                  <a:lstStyle/>
                  <a:p>
                    <a:r>
                      <a:t>11.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9CFF-4D74-8AE7-DBD3C5FAD1E7}"/>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CFF-4D74-8AE7-DBD3C5FAD1E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Rape</c:v>
                  </c:pt>
                  <c:pt idx="2">
                    <c:v>Salade</c:v>
                  </c:pt>
                  <c:pt idx="4">
                    <c:v>Classique</c:v>
                  </c:pt>
                  <c:pt idx="6">
                    <c:v>Bloc</c:v>
                  </c:pt>
                  <c:pt idx="8">
                    <c:v>Specialite</c:v>
                  </c:pt>
                </c:lvl>
              </c:multiLvlStrCache>
            </c:multiLvlStrRef>
          </c:cat>
          <c:val>
            <c:numRef>
              <c:f>Sheet1!$D$2:$D$11</c:f>
              <c:numCache>
                <c:formatCode>General</c:formatCode>
                <c:ptCount val="10"/>
                <c:pt idx="0">
                  <c:v>10.4901</c:v>
                </c:pt>
                <c:pt idx="1">
                  <c:v>0</c:v>
                </c:pt>
                <c:pt idx="2">
                  <c:v>12.5101</c:v>
                </c:pt>
                <c:pt idx="3">
                  <c:v>0</c:v>
                </c:pt>
                <c:pt idx="4">
                  <c:v>9.1001999999999992</c:v>
                </c:pt>
                <c:pt idx="5">
                  <c:v>0</c:v>
                </c:pt>
                <c:pt idx="6">
                  <c:v>12.743600000000001</c:v>
                </c:pt>
                <c:pt idx="7">
                  <c:v>0</c:v>
                </c:pt>
                <c:pt idx="8">
                  <c:v>11.5665</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4C09-4F2F-908C-E8324775340A}"/>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4C09-4F2F-908C-E8324775340A}"/>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Rape</c:v>
                  </c:pt>
                  <c:pt idx="2">
                    <c:v>Salade</c:v>
                  </c:pt>
                  <c:pt idx="4">
                    <c:v>Classique</c:v>
                  </c:pt>
                  <c:pt idx="6">
                    <c:v>Bloc</c:v>
                  </c:pt>
                  <c:pt idx="8">
                    <c:v>Specialite</c:v>
                  </c:pt>
                </c:lvl>
              </c:multiLvlStrCache>
            </c:multiLvlStrRef>
          </c:cat>
          <c:val>
            <c:numRef>
              <c:f>Sheet1!$C$2:$C$11</c:f>
              <c:numCache>
                <c:formatCode>General</c:formatCode>
                <c:ptCount val="10"/>
                <c:pt idx="0">
                  <c:v>59.5</c:v>
                </c:pt>
                <c:pt idx="1">
                  <c:v>0</c:v>
                </c:pt>
                <c:pt idx="2">
                  <c:v>56.2</c:v>
                </c:pt>
                <c:pt idx="3">
                  <c:v>0</c:v>
                </c:pt>
                <c:pt idx="4">
                  <c:v>41.5</c:v>
                </c:pt>
                <c:pt idx="5">
                  <c:v>0</c:v>
                </c:pt>
                <c:pt idx="6">
                  <c:v>40.299999999999997</c:v>
                </c:pt>
                <c:pt idx="7">
                  <c:v>0</c:v>
                </c:pt>
                <c:pt idx="8">
                  <c:v>27.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C09-4F2F-908C-E8324775340A}"/>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C09-4F2F-908C-E8324775340A}"/>
                </c:ext>
              </c:extLst>
            </c:dLbl>
            <c:dLbl>
              <c:idx val="2"/>
              <c:tx>
                <c:rich>
                  <a:bodyPr/>
                  <a:lstStyle/>
                  <a:p>
                    <a:r>
                      <a:t>1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C09-4F2F-908C-E8324775340A}"/>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C09-4F2F-908C-E8324775340A}"/>
                </c:ext>
              </c:extLst>
            </c:dLbl>
            <c:dLbl>
              <c:idx val="4"/>
              <c:tx>
                <c:rich>
                  <a:bodyPr/>
                  <a:lstStyle/>
                  <a:p>
                    <a:r>
                      <a:t>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C09-4F2F-908C-E8324775340A}"/>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C09-4F2F-908C-E8324775340A}"/>
                </c:ext>
              </c:extLst>
            </c:dLbl>
            <c:dLbl>
              <c:idx val="6"/>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4C09-4F2F-908C-E8324775340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4C09-4F2F-908C-E8324775340A}"/>
                </c:ext>
              </c:extLst>
            </c:dLbl>
            <c:dLbl>
              <c:idx val="8"/>
              <c:tx>
                <c:rich>
                  <a:bodyPr/>
                  <a:lstStyle/>
                  <a:p>
                    <a:r>
                      <a:t>11.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4C09-4F2F-908C-E8324775340A}"/>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4C09-4F2F-908C-E8324775340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Rape</c:v>
                  </c:pt>
                  <c:pt idx="2">
                    <c:v>Salade</c:v>
                  </c:pt>
                  <c:pt idx="4">
                    <c:v>Classique</c:v>
                  </c:pt>
                  <c:pt idx="6">
                    <c:v>Bloc</c:v>
                  </c:pt>
                  <c:pt idx="8">
                    <c:v>Specialite</c:v>
                  </c:pt>
                </c:lvl>
              </c:multiLvlStrCache>
            </c:multiLvlStrRef>
          </c:cat>
          <c:val>
            <c:numRef>
              <c:f>Sheet1!$D$2:$D$11</c:f>
              <c:numCache>
                <c:formatCode>General</c:formatCode>
                <c:ptCount val="10"/>
                <c:pt idx="0">
                  <c:v>10.4901</c:v>
                </c:pt>
                <c:pt idx="1">
                  <c:v>0</c:v>
                </c:pt>
                <c:pt idx="2">
                  <c:v>12.5101</c:v>
                </c:pt>
                <c:pt idx="3">
                  <c:v>0</c:v>
                </c:pt>
                <c:pt idx="4">
                  <c:v>9.1001999999999992</c:v>
                </c:pt>
                <c:pt idx="5">
                  <c:v>0</c:v>
                </c:pt>
                <c:pt idx="6">
                  <c:v>12.743600000000001</c:v>
                </c:pt>
                <c:pt idx="7">
                  <c:v>0</c:v>
                </c:pt>
                <c:pt idx="8">
                  <c:v>11.5665</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41FBF0-5565-44E3-8811-539A33186E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80D9B4-0328-400B-B849-A014F7C553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1A6DD8-92C8-4598-8089-D295C2C323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FA72331-E507-4B23-A0B8-6F0C9F5A1A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50087A5-6C1E-4555-8930-56C253DC5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6896479-570A-46EA-AC72-4810DFE98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3113AB-8BE9-4A95-AF88-30DB86233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AE63E83-6EEF-4135-85FC-2D0E0A7D5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131000000000001</c:v>
                </c:pt>
                <c:pt idx="1">
                  <c:v>2.4689000000000001</c:v>
                </c:pt>
                <c:pt idx="2">
                  <c:v>2.3700999999999999</c:v>
                </c:pt>
                <c:pt idx="3">
                  <c:v>2.9885999999999999</c:v>
                </c:pt>
                <c:pt idx="4">
                  <c:v>2.7917999999999998</c:v>
                </c:pt>
                <c:pt idx="5">
                  <c:v>3.4443000000000001</c:v>
                </c:pt>
                <c:pt idx="6">
                  <c:v>3.0390000000000001</c:v>
                </c:pt>
                <c:pt idx="7">
                  <c:v>2.5135000000000001</c:v>
                </c:pt>
              </c:numCache>
            </c:numRef>
          </c:xVal>
          <c:yVal>
            <c:numRef>
              <c:f>Sheet1!$B$2:$B$9</c:f>
              <c:numCache>
                <c:formatCode>General</c:formatCode>
                <c:ptCount val="8"/>
                <c:pt idx="0">
                  <c:v>0.84599999999999997</c:v>
                </c:pt>
                <c:pt idx="1">
                  <c:v>1.169</c:v>
                </c:pt>
                <c:pt idx="2">
                  <c:v>0.81699999999999995</c:v>
                </c:pt>
                <c:pt idx="3">
                  <c:v>1.0940000000000001</c:v>
                </c:pt>
                <c:pt idx="4">
                  <c:v>1.0469999999999999</c:v>
                </c:pt>
                <c:pt idx="5">
                  <c:v>0.97399999999999998</c:v>
                </c:pt>
                <c:pt idx="6">
                  <c:v>1.1499999999999999</c:v>
                </c:pt>
                <c:pt idx="7">
                  <c:v>1.4</c:v>
                </c:pt>
              </c:numCache>
            </c:numRef>
          </c:yVal>
          <c:bubbleSize>
            <c:numRef>
              <c:f>Sheet1!$C$2:$C$9</c:f>
              <c:numCache>
                <c:formatCode>General</c:formatCode>
                <c:ptCount val="8"/>
                <c:pt idx="0">
                  <c:v>58897416</c:v>
                </c:pt>
                <c:pt idx="1">
                  <c:v>11602323</c:v>
                </c:pt>
                <c:pt idx="2">
                  <c:v>9875140</c:v>
                </c:pt>
                <c:pt idx="3">
                  <c:v>8620814</c:v>
                </c:pt>
                <c:pt idx="4">
                  <c:v>8261704</c:v>
                </c:pt>
                <c:pt idx="5">
                  <c:v>5658598</c:v>
                </c:pt>
                <c:pt idx="6">
                  <c:v>4747021</c:v>
                </c:pt>
                <c:pt idx="7">
                  <c:v>424095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President</c:v>
                  </c:pt>
                  <c:pt idx="3">
                    <c:v>St Moret</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7282-493C-8BF3-52E62442027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7282-493C-8BF3-52E62442027E}"/>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Rape</c:v>
                  </c:pt>
                  <c:pt idx="2">
                    <c:v>Salade</c:v>
                  </c:pt>
                  <c:pt idx="4">
                    <c:v>Classique</c:v>
                  </c:pt>
                  <c:pt idx="6">
                    <c:v>Bloc</c:v>
                  </c:pt>
                  <c:pt idx="8">
                    <c:v>Specialite</c:v>
                  </c:pt>
                </c:lvl>
              </c:multiLvlStrCache>
            </c:multiLvlStrRef>
          </c:cat>
          <c:val>
            <c:numRef>
              <c:f>Sheet1!$C$2:$C$11</c:f>
              <c:numCache>
                <c:formatCode>General</c:formatCode>
                <c:ptCount val="10"/>
                <c:pt idx="0">
                  <c:v>59.5</c:v>
                </c:pt>
                <c:pt idx="1">
                  <c:v>0</c:v>
                </c:pt>
                <c:pt idx="2">
                  <c:v>56.2</c:v>
                </c:pt>
                <c:pt idx="3">
                  <c:v>0.8</c:v>
                </c:pt>
                <c:pt idx="4">
                  <c:v>41.5</c:v>
                </c:pt>
                <c:pt idx="5">
                  <c:v>0</c:v>
                </c:pt>
                <c:pt idx="6">
                  <c:v>40.299999999999997</c:v>
                </c:pt>
                <c:pt idx="7">
                  <c:v>0</c:v>
                </c:pt>
                <c:pt idx="8">
                  <c:v>27.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282-493C-8BF3-52E62442027E}"/>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282-493C-8BF3-52E62442027E}"/>
                </c:ext>
              </c:extLst>
            </c:dLbl>
            <c:dLbl>
              <c:idx val="2"/>
              <c:tx>
                <c:rich>
                  <a:bodyPr/>
                  <a:lstStyle/>
                  <a:p>
                    <a:r>
                      <a:t>1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282-493C-8BF3-52E62442027E}"/>
                </c:ext>
              </c:extLst>
            </c:dLbl>
            <c:dLbl>
              <c:idx val="3"/>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282-493C-8BF3-52E62442027E}"/>
                </c:ext>
              </c:extLst>
            </c:dLbl>
            <c:dLbl>
              <c:idx val="4"/>
              <c:tx>
                <c:rich>
                  <a:bodyPr/>
                  <a:lstStyle/>
                  <a:p>
                    <a:r>
                      <a:t>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282-493C-8BF3-52E62442027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282-493C-8BF3-52E62442027E}"/>
                </c:ext>
              </c:extLst>
            </c:dLbl>
            <c:dLbl>
              <c:idx val="6"/>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282-493C-8BF3-52E62442027E}"/>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282-493C-8BF3-52E62442027E}"/>
                </c:ext>
              </c:extLst>
            </c:dLbl>
            <c:dLbl>
              <c:idx val="8"/>
              <c:tx>
                <c:rich>
                  <a:bodyPr/>
                  <a:lstStyle/>
                  <a:p>
                    <a:r>
                      <a:t>11.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282-493C-8BF3-52E62442027E}"/>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282-493C-8BF3-52E62442027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Rape</c:v>
                  </c:pt>
                  <c:pt idx="2">
                    <c:v>Salade</c:v>
                  </c:pt>
                  <c:pt idx="4">
                    <c:v>Classique</c:v>
                  </c:pt>
                  <c:pt idx="6">
                    <c:v>Bloc</c:v>
                  </c:pt>
                  <c:pt idx="8">
                    <c:v>Specialite</c:v>
                  </c:pt>
                </c:lvl>
              </c:multiLvlStrCache>
            </c:multiLvlStrRef>
          </c:cat>
          <c:val>
            <c:numRef>
              <c:f>Sheet1!$D$2:$D$11</c:f>
              <c:numCache>
                <c:formatCode>General</c:formatCode>
                <c:ptCount val="10"/>
                <c:pt idx="0">
                  <c:v>10.4901</c:v>
                </c:pt>
                <c:pt idx="1">
                  <c:v>0</c:v>
                </c:pt>
                <c:pt idx="2">
                  <c:v>12.5101</c:v>
                </c:pt>
                <c:pt idx="3">
                  <c:v>20.2014</c:v>
                </c:pt>
                <c:pt idx="4">
                  <c:v>9.1001999999999992</c:v>
                </c:pt>
                <c:pt idx="5">
                  <c:v>0</c:v>
                </c:pt>
                <c:pt idx="6">
                  <c:v>12.743600000000001</c:v>
                </c:pt>
                <c:pt idx="7">
                  <c:v>0</c:v>
                </c:pt>
                <c:pt idx="8">
                  <c:v>11.5665</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0/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0/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21.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2.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3.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4.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5.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6.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7.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8.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2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30.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31.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32.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33.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4.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5.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6.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7.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8.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3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40.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41.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42.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3.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4.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5.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46.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47.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48.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49.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50.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51.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52.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53.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54.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55.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56.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57.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58.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59.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60.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90.xml"/><Relationship Id="rId5" Type="http://schemas.openxmlformats.org/officeDocument/2006/relationships/image" Target="../media/image29.emf"/><Relationship Id="rId4" Type="http://schemas.openxmlformats.org/officeDocument/2006/relationships/oleObject" Target="../embeddings/oleObject2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ATIONAL | P3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48025244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Total Fromag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533159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459902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0458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26968"/>
            <a:ext cx="4869366" cy="7041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88747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850853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074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30624"/>
            <a:ext cx="4869366" cy="7357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85229"/>
            <a:ext cx="4869366" cy="149034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510658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90982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7483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96633"/>
            <a:ext cx="4869366" cy="6813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024117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50069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529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9171"/>
            <a:ext cx="4869366" cy="7624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505058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480474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89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3586"/>
            <a:ext cx="4869366" cy="7937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7700"/>
            <a:ext cx="4869366" cy="160787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81244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05379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6781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91337"/>
            <a:ext cx="4869366" cy="7486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056460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700011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7851"/>
            <a:ext cx="4869366" cy="92215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5636"/>
            <a:ext cx="4869366" cy="6095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33457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822617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5268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71007"/>
            <a:ext cx="4869366" cy="8255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10527"/>
            <a:ext cx="4869366" cy="5456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793713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349375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2144"/>
            <a:ext cx="4869366" cy="9240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1842"/>
            <a:ext cx="4869366" cy="6108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617952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673823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1115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32657"/>
            <a:ext cx="4869366" cy="6695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69635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rrefour | P3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13391010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Total Fromag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545371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8329591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12886"/>
            <a:ext cx="4869366" cy="100949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39486"/>
            <a:ext cx="4869366" cy="6672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20359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90032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02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9461"/>
            <a:ext cx="4869366" cy="8787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131"/>
            <a:ext cx="4869366" cy="5808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8910"/>
            <a:ext cx="4869366" cy="11766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292568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197621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7848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97773"/>
            <a:ext cx="4869366" cy="8826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5360"/>
            <a:ext cx="4869366" cy="58343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3752"/>
            <a:ext cx="4869366" cy="118182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998812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742385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126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32298"/>
            <a:ext cx="4869366" cy="9042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51832"/>
            <a:ext cx="4869366" cy="5976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4855"/>
            <a:ext cx="4869366" cy="12107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676152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751709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1472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37026"/>
            <a:ext cx="4869366" cy="70086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55866"/>
            <a:ext cx="4869366" cy="141970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09211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596425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92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2701"/>
            <a:ext cx="4869366" cy="7448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6693"/>
            <a:ext cx="4869366" cy="150888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319969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053414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84537"/>
            <a:ext cx="4869366" cy="9858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87120"/>
            <a:ext cx="4869366" cy="6516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55508"/>
            <a:ext cx="4869366" cy="132006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679209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204361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6700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89701"/>
            <a:ext cx="4869366" cy="7163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216310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185096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07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5535"/>
            <a:ext cx="4869366" cy="7963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702684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168433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46634"/>
            <a:ext cx="4869366" cy="99836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61922"/>
            <a:ext cx="4869366" cy="65993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284281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Intermarche | P3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67422893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Total Fromag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1788613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Total Fromag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564319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0932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34172"/>
            <a:ext cx="4869366" cy="80012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265178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Total Fromag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118149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775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2702"/>
            <a:ext cx="4869366" cy="8038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375748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Total Fromag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341533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308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53824"/>
            <a:ext cx="4869366" cy="72813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00791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oft Chees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772738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260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37429"/>
            <a:ext cx="4869366" cy="79905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14698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oft Chees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717251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0188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21047"/>
            <a:ext cx="4869366" cy="87495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0833"/>
            <a:ext cx="4869366" cy="5783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367742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oft Chees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014197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242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6829"/>
            <a:ext cx="4869366" cy="7828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853831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peritif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2200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74505"/>
            <a:ext cx="4869366" cy="9562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6931"/>
            <a:ext cx="4869366" cy="63207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538417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peritif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40992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3573"/>
            <a:ext cx="4869366" cy="9235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2792"/>
            <a:ext cx="4869366" cy="6104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716092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peritif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692486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0309"/>
            <a:ext cx="4869366" cy="88332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051742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Ingredient A Chaud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245909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537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76549"/>
            <a:ext cx="4869366" cy="7206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138383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ATIONAL | P3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55548754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71034428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47309880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oft Cheese</a:t>
                      </a:r>
                    </a:p>
                  </a:txBody>
                  <a:tcPr anchor="ctr">
                    <a:solidFill>
                      <a:schemeClr val="bg2"/>
                    </a:solidFill>
                  </a:tcPr>
                </a:tc>
                <a:tc>
                  <a:txBody>
                    <a:bodyPr/>
                    <a:lstStyle/>
                    <a:p>
                      <a:pPr algn="ctr">
                        <a:defRPr sz="1100">
                          <a:latin typeface="Nexa Book"/>
                        </a:defRPr>
                      </a:pPr>
                      <a:r>
                        <a:rPr b="1">
                          <a:solidFill>
                            <a:srgbClr val="575555"/>
                          </a:solidFill>
                        </a:rPr>
                        <a:t>Aperitif</a:t>
                      </a:r>
                    </a:p>
                  </a:txBody>
                  <a:tcPr anchor="ctr">
                    <a:solidFill>
                      <a:schemeClr val="bg2"/>
                    </a:solidFill>
                  </a:tcPr>
                </a:tc>
                <a:tc>
                  <a:txBody>
                    <a:bodyPr/>
                    <a:lstStyle/>
                    <a:p>
                      <a:pPr algn="ctr">
                        <a:defRPr sz="1100">
                          <a:latin typeface="Nexa Book"/>
                        </a:defRPr>
                      </a:pPr>
                      <a:r>
                        <a:rPr b="1">
                          <a:solidFill>
                            <a:srgbClr val="575555"/>
                          </a:solidFill>
                        </a:rPr>
                        <a:t>Ingredient A Chaud</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8612058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Ingredient A Chaud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817559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5507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77872"/>
            <a:ext cx="4869366" cy="72025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942741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nfant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364303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02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9461"/>
            <a:ext cx="4869366" cy="8787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131"/>
            <a:ext cx="4869366" cy="5808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8910"/>
            <a:ext cx="4869366" cy="11766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355801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nfant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801941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7848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97773"/>
            <a:ext cx="4869366" cy="8826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5360"/>
            <a:ext cx="4869366" cy="58343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3752"/>
            <a:ext cx="4869366" cy="118182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086912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nfant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589265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126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32298"/>
            <a:ext cx="4869366" cy="9042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51832"/>
            <a:ext cx="4869366" cy="5976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4855"/>
            <a:ext cx="4869366" cy="12107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828344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Frais A Tartiner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129097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97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3605"/>
            <a:ext cx="4869366" cy="7609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4099"/>
            <a:ext cx="4869366" cy="15414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606131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Frais A Tartiner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463631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37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8392"/>
            <a:ext cx="4869366" cy="7921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0891"/>
            <a:ext cx="4869366" cy="160468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726688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Frais A Tartiner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550560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55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9948"/>
            <a:ext cx="4869366" cy="7818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1840"/>
            <a:ext cx="4869366" cy="15837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56719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alad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081972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6700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89701"/>
            <a:ext cx="4869366" cy="7163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7426165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alad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98751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07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5535"/>
            <a:ext cx="4869366" cy="7963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924957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alad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961900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4259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62087"/>
            <a:ext cx="4869366" cy="89439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71636"/>
            <a:ext cx="4869366" cy="5912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788640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rrefour | P3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120780503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296047958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Soft Cheese</a:t>
                      </a:r>
                    </a:p>
                  </a:txBody>
                  <a:tcPr anchor="ctr">
                    <a:solidFill>
                      <a:schemeClr val="bg2"/>
                    </a:solidFill>
                  </a:tcPr>
                </a:tc>
                <a:tc>
                  <a:txBody>
                    <a:bodyPr/>
                    <a:lstStyle/>
                    <a:p>
                      <a:pPr algn="ctr">
                        <a:defRPr sz="1100">
                          <a:latin typeface="Nexa Book"/>
                        </a:defRPr>
                      </a:pPr>
                      <a:r>
                        <a:rPr b="1">
                          <a:solidFill>
                            <a:srgbClr val="575555"/>
                          </a:solidFill>
                        </a:rPr>
                        <a:t>Aperitif</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12463194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8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1175716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0736200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4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6482216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2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828825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3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30600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776950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Total Fromage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8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es Mousquetai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ille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6323014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Total Fromage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1693941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Total Fromage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4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es Mousquetai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ille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8318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Total Fromage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2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623575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Intermarche | P3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90771268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62630725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452461839"/>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oft Cheese</a:t>
                      </a:r>
                    </a:p>
                  </a:txBody>
                  <a:tcPr anchor="ctr">
                    <a:solidFill>
                      <a:schemeClr val="bg2"/>
                    </a:solidFill>
                  </a:tcPr>
                </a:tc>
                <a:tc>
                  <a:txBody>
                    <a:bodyPr/>
                    <a:lstStyle/>
                    <a:p>
                      <a:pPr algn="ctr">
                        <a:defRPr sz="1100">
                          <a:latin typeface="Nexa Book"/>
                        </a:defRPr>
                      </a:pPr>
                      <a:r>
                        <a:rPr b="1">
                          <a:solidFill>
                            <a:srgbClr val="575555"/>
                          </a:solidFill>
                        </a:rPr>
                        <a:t>Aperitif</a:t>
                      </a:r>
                    </a:p>
                  </a:txBody>
                  <a:tcPr anchor="ctr">
                    <a:solidFill>
                      <a:schemeClr val="bg2"/>
                    </a:solidFill>
                  </a:tcPr>
                </a:tc>
                <a:tc>
                  <a:txBody>
                    <a:bodyPr/>
                    <a:lstStyle/>
                    <a:p>
                      <a:pPr algn="ctr">
                        <a:defRPr sz="1100">
                          <a:latin typeface="Nexa Book"/>
                        </a:defRPr>
                      </a:pPr>
                      <a:r>
                        <a:rPr b="1">
                          <a:solidFill>
                            <a:srgbClr val="575555"/>
                          </a:solidFill>
                        </a:rPr>
                        <a:t>Ingredient A Chaud</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2038090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Total Fromage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3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7974433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Total Fromage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Les Mousquetaire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247697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el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623023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el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1810534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el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752299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Kiri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0625473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La Vache Qui Rit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3090726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oursin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543414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Kiri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6913199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La Vache Qui Rit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111708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3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20166040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97736370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30213836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Enfant</a:t>
                      </a:r>
                    </a:p>
                  </a:txBody>
                  <a:tcPr anchor="ctr">
                    <a:solidFill>
                      <a:schemeClr val="bg2"/>
                    </a:solidFill>
                  </a:tcPr>
                </a:tc>
                <a:tc>
                  <a:txBody>
                    <a:bodyPr/>
                    <a:lstStyle/>
                    <a:p>
                      <a:pPr algn="ctr">
                        <a:defRPr sz="1100">
                          <a:latin typeface="Nexa Book"/>
                        </a:defRPr>
                      </a:pPr>
                      <a:r>
                        <a:rPr b="1">
                          <a:solidFill>
                            <a:srgbClr val="575555"/>
                          </a:solidFill>
                        </a:rPr>
                        <a:t>Frais A Tartiner</a:t>
                      </a:r>
                    </a:p>
                  </a:txBody>
                  <a:tcPr anchor="ctr">
                    <a:solidFill>
                      <a:schemeClr val="bg2"/>
                    </a:solidFill>
                  </a:tcPr>
                </a:tc>
                <a:tc>
                  <a:txBody>
                    <a:bodyPr/>
                    <a:lstStyle/>
                    <a:p>
                      <a:pPr algn="ctr">
                        <a:defRPr sz="1100">
                          <a:latin typeface="Nexa Book"/>
                        </a:defRPr>
                      </a:pPr>
                      <a:r>
                        <a:rPr b="1">
                          <a:solidFill>
                            <a:srgbClr val="575555"/>
                          </a:solidFill>
                        </a:rPr>
                        <a:t>Salad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58296982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oursin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821126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Kiri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2741370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La Vache Qui Rit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0629797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oursin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9678998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Kiri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7634296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La Vache Qui Rit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3607682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Boursin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8247681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Kiri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3288582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La Vache Qui Rit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740246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Boursin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718432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rrefour | P3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60995205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04911704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1292635"/>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Enfant</a:t>
                      </a:r>
                    </a:p>
                  </a:txBody>
                  <a:tcPr anchor="ctr">
                    <a:solidFill>
                      <a:schemeClr val="bg2"/>
                    </a:solidFill>
                  </a:tcPr>
                </a:tc>
                <a:tc>
                  <a:txBody>
                    <a:bodyPr/>
                    <a:lstStyle/>
                    <a:p>
                      <a:pPr algn="ctr">
                        <a:defRPr sz="1100">
                          <a:latin typeface="Nexa Book"/>
                        </a:defRPr>
                      </a:pPr>
                      <a:r>
                        <a:rPr b="1">
                          <a:solidFill>
                            <a:srgbClr val="575555"/>
                          </a:solidFill>
                        </a:rPr>
                        <a:t>Frais A Tartiner</a:t>
                      </a:r>
                    </a:p>
                  </a:txBody>
                  <a:tcPr anchor="ctr">
                    <a:solidFill>
                      <a:schemeClr val="bg2"/>
                    </a:solidFill>
                  </a:tcPr>
                </a:tc>
                <a:tc>
                  <a:txBody>
                    <a:bodyPr/>
                    <a:lstStyle/>
                    <a:p>
                      <a:pPr algn="ctr">
                        <a:defRPr sz="1100">
                          <a:latin typeface="Nexa Book"/>
                        </a:defRPr>
                      </a:pPr>
                      <a:r>
                        <a:rPr b="1">
                          <a:solidFill>
                            <a:srgbClr val="575555"/>
                          </a:solidFill>
                        </a:rPr>
                        <a:t>Salad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01411675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Kiri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7677232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La Vache Qui Rit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0428863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Boursin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1701352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Kiri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087666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La Vache Qui Rit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2232084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Boursin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4646893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Kiri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8033774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La Vache Qui Rit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4116879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Boursin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0880875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Kiri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963918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Intermarche | P3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83123433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32862679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848923440"/>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Enfant</a:t>
                      </a:r>
                    </a:p>
                  </a:txBody>
                  <a:tcPr anchor="ctr">
                    <a:solidFill>
                      <a:schemeClr val="bg2"/>
                    </a:solidFill>
                  </a:tcPr>
                </a:tc>
                <a:tc>
                  <a:txBody>
                    <a:bodyPr/>
                    <a:lstStyle/>
                    <a:p>
                      <a:pPr algn="ctr">
                        <a:defRPr sz="1100">
                          <a:latin typeface="Nexa Book"/>
                        </a:defRPr>
                      </a:pPr>
                      <a:r>
                        <a:rPr b="1">
                          <a:solidFill>
                            <a:srgbClr val="575555"/>
                          </a:solidFill>
                        </a:rPr>
                        <a:t>Frais A Tartiner</a:t>
                      </a:r>
                    </a:p>
                  </a:txBody>
                  <a:tcPr anchor="ctr">
                    <a:solidFill>
                      <a:schemeClr val="bg2"/>
                    </a:solidFill>
                  </a:tcPr>
                </a:tc>
                <a:tc>
                  <a:txBody>
                    <a:bodyPr/>
                    <a:lstStyle/>
                    <a:p>
                      <a:pPr algn="ctr">
                        <a:defRPr sz="1100">
                          <a:latin typeface="Nexa Book"/>
                        </a:defRPr>
                      </a:pPr>
                      <a:r>
                        <a:rPr b="1">
                          <a:solidFill>
                            <a:srgbClr val="575555"/>
                          </a:solidFill>
                        </a:rPr>
                        <a:t>Salad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09510564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La Vache Qui Rit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3550592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Boursin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863507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TotalTime>
  <Words>9173</Words>
  <Application>Microsoft Office PowerPoint</Application>
  <PresentationFormat>On-screen Show (16:9)</PresentationFormat>
  <Paragraphs>2644</Paragraphs>
  <Slides>91</Slides>
  <Notes>4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91</vt:i4>
      </vt:variant>
    </vt:vector>
  </HeadingPairs>
  <TitlesOfParts>
    <vt:vector size="101"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6</cp:revision>
  <dcterms:created xsi:type="dcterms:W3CDTF">2024-07-05T14:56:51Z</dcterms:created>
  <dcterms:modified xsi:type="dcterms:W3CDTF">2025-09-10T16:0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